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fif" ContentType="image/jpeg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4.xml" ContentType="application/vnd.openxmlformats-officedocument.themeOverr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5.xml" ContentType="application/vnd.openxmlformats-officedocument.themeOverr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heme/themeOverride6.xml" ContentType="application/vnd.openxmlformats-officedocument.themeOverr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heme/themeOverride7.xml" ContentType="application/vnd.openxmlformats-officedocument.themeOverr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heme/themeOverride8.xml" ContentType="application/vnd.openxmlformats-officedocument.themeOverr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heme/themeOverride9.xml" ContentType="application/vnd.openxmlformats-officedocument.themeOverrid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heme/themeOverride10.xml" ContentType="application/vnd.openxmlformats-officedocument.themeOverride+xml"/>
  <Override PartName="/ppt/charts/chart11.xml" ContentType="application/vnd.openxmlformats-officedocument.drawingml.chart+xml"/>
  <Override PartName="/ppt/theme/themeOverride11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0" r:id="rId1"/>
    <p:sldMasterId id="2147483660" r:id="rId2"/>
    <p:sldMasterId id="2147483682" r:id="rId3"/>
  </p:sldMasterIdLst>
  <p:notesMasterIdLst>
    <p:notesMasterId r:id="rId32"/>
  </p:notesMasterIdLst>
  <p:sldIdLst>
    <p:sldId id="256" r:id="rId4"/>
    <p:sldId id="947" r:id="rId5"/>
    <p:sldId id="948" r:id="rId6"/>
    <p:sldId id="949" r:id="rId7"/>
    <p:sldId id="973" r:id="rId8"/>
    <p:sldId id="953" r:id="rId9"/>
    <p:sldId id="946" r:id="rId10"/>
    <p:sldId id="945" r:id="rId11"/>
    <p:sldId id="933" r:id="rId12"/>
    <p:sldId id="954" r:id="rId13"/>
    <p:sldId id="934" r:id="rId14"/>
    <p:sldId id="459" r:id="rId15"/>
    <p:sldId id="935" r:id="rId16"/>
    <p:sldId id="936" r:id="rId17"/>
    <p:sldId id="956" r:id="rId18"/>
    <p:sldId id="937" r:id="rId19"/>
    <p:sldId id="957" r:id="rId20"/>
    <p:sldId id="962" r:id="rId21"/>
    <p:sldId id="960" r:id="rId22"/>
    <p:sldId id="959" r:id="rId23"/>
    <p:sldId id="963" r:id="rId24"/>
    <p:sldId id="966" r:id="rId25"/>
    <p:sldId id="967" r:id="rId26"/>
    <p:sldId id="970" r:id="rId27"/>
    <p:sldId id="971" r:id="rId28"/>
    <p:sldId id="972" r:id="rId29"/>
    <p:sldId id="968" r:id="rId30"/>
    <p:sldId id="266" r:id="rId31"/>
  </p:sldIdLst>
  <p:sldSz cx="10693400" cy="7561263"/>
  <p:notesSz cx="7010400" cy="9236075"/>
  <p:defaultTextStyle>
    <a:defPPr>
      <a:defRPr lang="en-US"/>
    </a:defPPr>
    <a:lvl1pPr marL="0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1528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43056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64584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086112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07640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29168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50696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172224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82">
          <p15:clr>
            <a:srgbClr val="A4A3A4"/>
          </p15:clr>
        </p15:guide>
        <p15:guide id="2" pos="3368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F5EA9"/>
    <a:srgbClr val="53BFE5"/>
    <a:srgbClr val="94D4EA"/>
    <a:srgbClr val="0793D2"/>
    <a:srgbClr val="005EC4"/>
    <a:srgbClr val="94B2D6"/>
    <a:srgbClr val="4F80BD"/>
    <a:srgbClr val="B8CCE4"/>
    <a:srgbClr val="B9CDE5"/>
    <a:srgbClr val="95B3D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105" autoAdjust="0"/>
    <p:restoredTop sz="96374" autoAdjust="0"/>
  </p:normalViewPr>
  <p:slideViewPr>
    <p:cSldViewPr>
      <p:cViewPr varScale="1">
        <p:scale>
          <a:sx n="104" d="100"/>
          <a:sy n="104" d="100"/>
        </p:scale>
        <p:origin x="1296" y="108"/>
      </p:cViewPr>
      <p:guideLst>
        <p:guide orient="horz" pos="2382"/>
        <p:guide pos="3368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34" Type="http://schemas.openxmlformats.org/officeDocument/2006/relationships/viewProps" Target="view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notesMaster" Target="notesMasters/notesMaster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tableStyles" Target="tableStyle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theme" Target="theme/theme1.xml"/><Relationship Id="rId8" Type="http://schemas.openxmlformats.org/officeDocument/2006/relationships/slide" Target="slides/slide5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0.xml"/><Relationship Id="rId2" Type="http://schemas.microsoft.com/office/2011/relationships/chartColorStyle" Target="colors10.xml"/><Relationship Id="rId1" Type="http://schemas.microsoft.com/office/2011/relationships/chartStyle" Target="style10.xml"/><Relationship Id="rId4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0.xlsx"/><Relationship Id="rId1" Type="http://schemas.openxmlformats.org/officeDocument/2006/relationships/themeOverride" Target="../theme/themeOverride1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5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6.xm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7.xml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8.xml"/><Relationship Id="rId2" Type="http://schemas.microsoft.com/office/2011/relationships/chartColorStyle" Target="colors8.xml"/><Relationship Id="rId1" Type="http://schemas.microsoft.com/office/2011/relationships/chartStyle" Target="style8.xml"/><Relationship Id="rId4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9.xml"/><Relationship Id="rId2" Type="http://schemas.microsoft.com/office/2011/relationships/chartColorStyle" Target="colors9.xml"/><Relationship Id="rId1" Type="http://schemas.microsoft.com/office/2011/relationships/chartStyle" Target="style9.xml"/><Relationship Id="rId4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lt-L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°C!$AE$6</c:f>
              <c:strCache>
                <c:ptCount val="1"/>
                <c:pt idx="0">
                  <c:v>Prieš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errBars>
            <c:errBarType val="both"/>
            <c:errValType val="cust"/>
            <c:noEndCap val="0"/>
            <c:plus>
              <c:numRef>
                <c:f>t°C!$AE$12:$AE$15</c:f>
                <c:numCache>
                  <c:formatCode>General</c:formatCode>
                  <c:ptCount val="4"/>
                  <c:pt idx="0">
                    <c:v>0.29999999999999893</c:v>
                  </c:pt>
                  <c:pt idx="1">
                    <c:v>0.37859388972001834</c:v>
                  </c:pt>
                  <c:pt idx="2">
                    <c:v>0.70710678118655002</c:v>
                  </c:pt>
                  <c:pt idx="3">
                    <c:v>0.15275252316519489</c:v>
                  </c:pt>
                </c:numCache>
              </c:numRef>
            </c:plus>
            <c:minus>
              <c:numRef>
                <c:f>t°C!$AE$12:$AE$15</c:f>
                <c:numCache>
                  <c:formatCode>General</c:formatCode>
                  <c:ptCount val="4"/>
                  <c:pt idx="0">
                    <c:v>0.29999999999999893</c:v>
                  </c:pt>
                  <c:pt idx="1">
                    <c:v>0.37859388972001834</c:v>
                  </c:pt>
                  <c:pt idx="2">
                    <c:v>0.70710678118655002</c:v>
                  </c:pt>
                  <c:pt idx="3">
                    <c:v>0.15275252316519489</c:v>
                  </c:pt>
                </c:numCache>
              </c:numRef>
            </c:minus>
            <c:spPr>
              <a:noFill/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cat>
            <c:strRef>
              <c:f>t°C!$AD$7:$AD$10</c:f>
              <c:strCache>
                <c:ptCount val="4"/>
                <c:pt idx="0">
                  <c:v>Gaja</c:v>
                </c:pt>
                <c:pt idx="1">
                  <c:v>Mukas</c:v>
                </c:pt>
                <c:pt idx="2">
                  <c:v>Mūza</c:v>
                </c:pt>
                <c:pt idx="3">
                  <c:v>Šaras</c:v>
                </c:pt>
              </c:strCache>
            </c:strRef>
          </c:cat>
          <c:val>
            <c:numRef>
              <c:f>t°C!$AE$7:$AE$10</c:f>
              <c:numCache>
                <c:formatCode>General</c:formatCode>
                <c:ptCount val="4"/>
                <c:pt idx="0">
                  <c:v>30.100000000000005</c:v>
                </c:pt>
                <c:pt idx="1">
                  <c:v>26.933333333333334</c:v>
                </c:pt>
                <c:pt idx="2">
                  <c:v>31.700000000000003</c:v>
                </c:pt>
                <c:pt idx="3">
                  <c:v>28.0333333333333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3DD-4700-A9DC-C65117DB0404}"/>
            </c:ext>
          </c:extLst>
        </c:ser>
        <c:ser>
          <c:idx val="1"/>
          <c:order val="1"/>
          <c:tx>
            <c:strRef>
              <c:f>t°C!$AF$6</c:f>
              <c:strCache>
                <c:ptCount val="1"/>
                <c:pt idx="0">
                  <c:v>Po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errBars>
            <c:errBarType val="both"/>
            <c:errValType val="cust"/>
            <c:noEndCap val="0"/>
            <c:plus>
              <c:numRef>
                <c:f>t°C!$AF$12:$AF$15</c:f>
                <c:numCache>
                  <c:formatCode>General</c:formatCode>
                  <c:ptCount val="4"/>
                  <c:pt idx="0">
                    <c:v>0.26457513110645947</c:v>
                  </c:pt>
                  <c:pt idx="1">
                    <c:v>0.26457513110645881</c:v>
                  </c:pt>
                  <c:pt idx="2">
                    <c:v>0.35355339059327379</c:v>
                  </c:pt>
                  <c:pt idx="3">
                    <c:v>0.15275252316519336</c:v>
                  </c:pt>
                </c:numCache>
              </c:numRef>
            </c:plus>
            <c:minus>
              <c:numRef>
                <c:f>t°C!$AF$12:$AF$15</c:f>
                <c:numCache>
                  <c:formatCode>General</c:formatCode>
                  <c:ptCount val="4"/>
                  <c:pt idx="0">
                    <c:v>0.26457513110645947</c:v>
                  </c:pt>
                  <c:pt idx="1">
                    <c:v>0.26457513110645881</c:v>
                  </c:pt>
                  <c:pt idx="2">
                    <c:v>0.35355339059327379</c:v>
                  </c:pt>
                  <c:pt idx="3">
                    <c:v>0.15275252316519336</c:v>
                  </c:pt>
                </c:numCache>
              </c:numRef>
            </c:minus>
            <c:spPr>
              <a:noFill/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cat>
            <c:strRef>
              <c:f>t°C!$AD$7:$AD$10</c:f>
              <c:strCache>
                <c:ptCount val="4"/>
                <c:pt idx="0">
                  <c:v>Gaja</c:v>
                </c:pt>
                <c:pt idx="1">
                  <c:v>Mukas</c:v>
                </c:pt>
                <c:pt idx="2">
                  <c:v>Mūza</c:v>
                </c:pt>
                <c:pt idx="3">
                  <c:v>Šaras</c:v>
                </c:pt>
              </c:strCache>
            </c:strRef>
          </c:cat>
          <c:val>
            <c:numRef>
              <c:f>t°C!$AF$7:$AF$10</c:f>
              <c:numCache>
                <c:formatCode>General</c:formatCode>
                <c:ptCount val="4"/>
                <c:pt idx="0">
                  <c:v>30.3</c:v>
                </c:pt>
                <c:pt idx="1">
                  <c:v>27.400000000000002</c:v>
                </c:pt>
                <c:pt idx="2">
                  <c:v>32.65</c:v>
                </c:pt>
                <c:pt idx="3">
                  <c:v>28.2333333333333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3DD-4700-A9DC-C65117DB04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72498504"/>
        <c:axId val="572495224"/>
      </c:barChart>
      <c:catAx>
        <c:axId val="5724985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72495224"/>
        <c:crosses val="autoZero"/>
        <c:auto val="1"/>
        <c:lblAlgn val="ctr"/>
        <c:lblOffset val="100"/>
        <c:noMultiLvlLbl val="0"/>
      </c:catAx>
      <c:valAx>
        <c:axId val="5724952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t °C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724985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 sz="1400"/>
      </a:pPr>
      <a:endParaRPr lang="en-US"/>
    </a:p>
  </c:txPr>
  <c:externalData r:id="rId4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lt-L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lineChart>
        <c:grouping val="standard"/>
        <c:varyColors val="0"/>
        <c:ser>
          <c:idx val="1"/>
          <c:order val="0"/>
          <c:tx>
            <c:strRef>
              <c:f>Liberia!$H$5</c:f>
              <c:strCache>
                <c:ptCount val="1"/>
                <c:pt idx="0">
                  <c:v>Prieš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circle"/>
            <c:size val="10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trendline>
            <c:spPr>
              <a:ln w="19050" cap="rnd">
                <a:solidFill>
                  <a:schemeClr val="accent2"/>
                </a:solidFill>
                <a:prstDash val="sysDot"/>
              </a:ln>
              <a:effectLst/>
            </c:spPr>
            <c:trendlineType val="linear"/>
            <c:dispRSqr val="0"/>
            <c:dispEq val="0"/>
          </c:trendline>
          <c:val>
            <c:numRef>
              <c:f>Liberia!$H$6:$H$12</c:f>
              <c:numCache>
                <c:formatCode>General</c:formatCode>
                <c:ptCount val="7"/>
                <c:pt idx="0">
                  <c:v>2.1</c:v>
                </c:pt>
                <c:pt idx="1">
                  <c:v>5.0999999999999996</c:v>
                </c:pt>
                <c:pt idx="3">
                  <c:v>8.3000000000000007</c:v>
                </c:pt>
                <c:pt idx="4">
                  <c:v>5.2</c:v>
                </c:pt>
                <c:pt idx="5">
                  <c:v>13.6</c:v>
                </c:pt>
                <c:pt idx="6">
                  <c:v>5.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827-47D0-8FB7-9CF3F054BD12}"/>
            </c:ext>
          </c:extLst>
        </c:ser>
        <c:ser>
          <c:idx val="2"/>
          <c:order val="1"/>
          <c:tx>
            <c:strRef>
              <c:f>Liberia!$I$5</c:f>
              <c:strCache>
                <c:ptCount val="1"/>
                <c:pt idx="0">
                  <c:v>Po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circle"/>
            <c:size val="10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trendline>
            <c:spPr>
              <a:ln w="19050" cap="rnd">
                <a:solidFill>
                  <a:schemeClr val="accent3"/>
                </a:solidFill>
                <a:prstDash val="sysDot"/>
              </a:ln>
              <a:effectLst/>
            </c:spPr>
            <c:trendlineType val="linear"/>
            <c:dispRSqr val="0"/>
            <c:dispEq val="0"/>
          </c:trendline>
          <c:val>
            <c:numRef>
              <c:f>Liberia!$I$6:$I$12</c:f>
              <c:numCache>
                <c:formatCode>General</c:formatCode>
                <c:ptCount val="7"/>
                <c:pt idx="0">
                  <c:v>2.5</c:v>
                </c:pt>
                <c:pt idx="1">
                  <c:v>5.3</c:v>
                </c:pt>
                <c:pt idx="2">
                  <c:v>4.5</c:v>
                </c:pt>
                <c:pt idx="3">
                  <c:v>5.4</c:v>
                </c:pt>
                <c:pt idx="4">
                  <c:v>8.8000000000000007</c:v>
                </c:pt>
                <c:pt idx="5">
                  <c:v>19.8</c:v>
                </c:pt>
                <c:pt idx="6">
                  <c:v>12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827-47D0-8FB7-9CF3F054BD1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65989592"/>
        <c:axId val="657743592"/>
      </c:lineChart>
      <c:catAx>
        <c:axId val="66598959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Terapijos diena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57743592"/>
        <c:crosses val="autoZero"/>
        <c:auto val="1"/>
        <c:lblAlgn val="ctr"/>
        <c:lblOffset val="100"/>
        <c:noMultiLvlLbl val="0"/>
      </c:catAx>
      <c:valAx>
        <c:axId val="65774359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ng/ml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659895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 sz="1400"/>
      </a:pPr>
      <a:endParaRPr lang="en-US"/>
    </a:p>
  </c:txPr>
  <c:externalData r:id="rId4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lt-L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Lapas2!$X$8</c:f>
              <c:strCache>
                <c:ptCount val="1"/>
                <c:pt idx="0">
                  <c:v>Min</c:v>
                </c:pt>
              </c:strCache>
            </c:strRef>
          </c:tx>
          <c:spPr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4472C4"/>
                  </a:solidFill>
                </a14:hiddenFill>
              </a:ext>
            </a:extLst>
          </c:spPr>
          <c:invertIfNegative val="0"/>
          <c:cat>
            <c:strRef>
              <c:f>Lapas2!$Y$7:$Z$7</c:f>
              <c:strCache>
                <c:ptCount val="2"/>
                <c:pt idx="0">
                  <c:v>Prieš</c:v>
                </c:pt>
                <c:pt idx="1">
                  <c:v>Po</c:v>
                </c:pt>
              </c:strCache>
            </c:strRef>
          </c:cat>
          <c:val>
            <c:numRef>
              <c:f>Lapas2!$Y$8:$Z$8</c:f>
              <c:numCache>
                <c:formatCode>General</c:formatCode>
                <c:ptCount val="2"/>
                <c:pt idx="0">
                  <c:v>2.1</c:v>
                </c:pt>
                <c:pt idx="1">
                  <c:v>2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EFE-4DE4-88A9-1B741735F2A0}"/>
            </c:ext>
          </c:extLst>
        </c:ser>
        <c:ser>
          <c:idx val="1"/>
          <c:order val="1"/>
          <c:tx>
            <c:strRef>
              <c:f>Lapas2!$X$9</c:f>
              <c:strCache>
                <c:ptCount val="1"/>
                <c:pt idx="0">
                  <c:v>Q1-Min</c:v>
                </c:pt>
              </c:strCache>
            </c:strRef>
          </c:tx>
          <c:spPr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ED7D31"/>
                  </a:solidFill>
                </a14:hiddenFill>
              </a:ext>
            </a:extLst>
          </c:spPr>
          <c:invertIfNegative val="0"/>
          <c:errBars>
            <c:errBarType val="minus"/>
            <c:errValType val="percentage"/>
            <c:noEndCap val="0"/>
            <c:val val="100"/>
          </c:errBars>
          <c:cat>
            <c:strRef>
              <c:f>Lapas2!$Y$7:$Z$7</c:f>
              <c:strCache>
                <c:ptCount val="2"/>
                <c:pt idx="0">
                  <c:v>Prieš</c:v>
                </c:pt>
                <c:pt idx="1">
                  <c:v>Po</c:v>
                </c:pt>
              </c:strCache>
            </c:strRef>
          </c:cat>
          <c:val>
            <c:numRef>
              <c:f>Lapas2!$Y$9:$Z$9</c:f>
              <c:numCache>
                <c:formatCode>General</c:formatCode>
                <c:ptCount val="2"/>
                <c:pt idx="0">
                  <c:v>3.2749999999999999</c:v>
                </c:pt>
                <c:pt idx="1">
                  <c:v>1.65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EFE-4DE4-88A9-1B741735F2A0}"/>
            </c:ext>
          </c:extLst>
        </c:ser>
        <c:ser>
          <c:idx val="2"/>
          <c:order val="2"/>
          <c:tx>
            <c:strRef>
              <c:f>Lapas2!$X$10</c:f>
              <c:strCache>
                <c:ptCount val="1"/>
                <c:pt idx="0">
                  <c:v>Med-Q1</c:v>
                </c:pt>
              </c:strCache>
            </c:strRef>
          </c:tx>
          <c:invertIfNegative val="0"/>
          <c:cat>
            <c:strRef>
              <c:f>Lapas2!$Y$7:$Z$7</c:f>
              <c:strCache>
                <c:ptCount val="2"/>
                <c:pt idx="0">
                  <c:v>Prieš</c:v>
                </c:pt>
                <c:pt idx="1">
                  <c:v>Po</c:v>
                </c:pt>
              </c:strCache>
            </c:strRef>
          </c:cat>
          <c:val>
            <c:numRef>
              <c:f>Lapas2!$Y$10:$Z$10</c:f>
              <c:numCache>
                <c:formatCode>General</c:formatCode>
                <c:ptCount val="2"/>
                <c:pt idx="0">
                  <c:v>2.125</c:v>
                </c:pt>
                <c:pt idx="1">
                  <c:v>1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EFE-4DE4-88A9-1B741735F2A0}"/>
            </c:ext>
          </c:extLst>
        </c:ser>
        <c:ser>
          <c:idx val="3"/>
          <c:order val="3"/>
          <c:tx>
            <c:strRef>
              <c:f>Lapas2!$X$11</c:f>
              <c:strCache>
                <c:ptCount val="1"/>
                <c:pt idx="0">
                  <c:v>Q3-Med</c:v>
                </c:pt>
              </c:strCache>
            </c:strRef>
          </c:tx>
          <c:invertIfNegative val="0"/>
          <c:errBars>
            <c:errBarType val="plus"/>
            <c:errValType val="cust"/>
            <c:noEndCap val="0"/>
            <c:plus>
              <c:numRef>
                <c:f>Lapas2!$Y$12:$Z$12</c:f>
                <c:numCache>
                  <c:formatCode>General</c:formatCode>
                  <c:ptCount val="2"/>
                  <c:pt idx="0">
                    <c:v>3.5250000000000004</c:v>
                  </c:pt>
                  <c:pt idx="1">
                    <c:v>8.8500000000000014</c:v>
                  </c:pt>
                </c:numCache>
              </c:numRef>
            </c:plus>
          </c:errBars>
          <c:cat>
            <c:strRef>
              <c:f>Lapas2!$Y$7:$Z$7</c:f>
              <c:strCache>
                <c:ptCount val="2"/>
                <c:pt idx="0">
                  <c:v>Prieš</c:v>
                </c:pt>
                <c:pt idx="1">
                  <c:v>Po</c:v>
                </c:pt>
              </c:strCache>
            </c:strRef>
          </c:cat>
          <c:val>
            <c:numRef>
              <c:f>Lapas2!$Y$11:$Z$11</c:f>
              <c:numCache>
                <c:formatCode>General</c:formatCode>
                <c:ptCount val="2"/>
                <c:pt idx="0">
                  <c:v>3.5749999999999993</c:v>
                </c:pt>
                <c:pt idx="1">
                  <c:v>5.54999999999999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EFE-4DE4-88A9-1B741735F2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552476624"/>
        <c:axId val="552478920"/>
      </c:barChart>
      <c:scatterChart>
        <c:scatterStyle val="lineMarker"/>
        <c:varyColors val="0"/>
        <c:ser>
          <c:idx val="4"/>
          <c:order val="4"/>
          <c:tx>
            <c:v>m</c:v>
          </c:tx>
          <c:spPr>
            <a:ln w="19050">
              <a:noFill/>
            </a:ln>
          </c:spPr>
          <c:marker>
            <c:symbol val="x"/>
            <c:size val="5"/>
            <c:spPr>
              <a:ln>
                <a:solidFill>
                  <a:srgbClr val="000000"/>
                </a:solidFill>
                <a:prstDash val="solid"/>
              </a:ln>
            </c:spPr>
          </c:marker>
          <c:yVal>
            <c:numRef>
              <c:f>Lapas2!$Y$13:$Z$13</c:f>
              <c:numCache>
                <c:formatCode>General</c:formatCode>
                <c:ptCount val="2"/>
                <c:pt idx="0">
                  <c:v>8.2388888888888889</c:v>
                </c:pt>
                <c:pt idx="1">
                  <c:v>7.95789473684210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EEFE-4DE4-88A9-1B741735F2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52476624"/>
        <c:axId val="552478920"/>
      </c:scatterChart>
      <c:catAx>
        <c:axId val="55247662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552478920"/>
        <c:crosses val="autoZero"/>
        <c:auto val="1"/>
        <c:lblAlgn val="ctr"/>
        <c:lblOffset val="100"/>
        <c:noMultiLvlLbl val="0"/>
      </c:catAx>
      <c:valAx>
        <c:axId val="552478920"/>
        <c:scaling>
          <c:orientation val="minMax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/>
                </a:pPr>
                <a:r>
                  <a:rPr lang="lt-LT"/>
                  <a:t>ng/ml</a:t>
                </a:r>
              </a:p>
            </c:rich>
          </c:tx>
          <c:overlay val="0"/>
        </c:title>
        <c:numFmt formatCode="General" sourceLinked="1"/>
        <c:majorTickMark val="out"/>
        <c:minorTickMark val="none"/>
        <c:tickLblPos val="nextTo"/>
        <c:crossAx val="552476624"/>
        <c:crosses val="autoZero"/>
        <c:crossBetween val="between"/>
      </c:valAx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txPr>
    <a:bodyPr/>
    <a:lstStyle/>
    <a:p>
      <a:pPr>
        <a:defRPr sz="1400"/>
      </a:pPr>
      <a:endParaRPr lang="en-US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lt-L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9.3063281080690591E-2"/>
          <c:y val="2.0611764133847597E-2"/>
          <c:w val="0.88094283512726046"/>
          <c:h val="0.819231821900196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Puls_Kvep!$M$24</c:f>
              <c:strCache>
                <c:ptCount val="1"/>
                <c:pt idx="0">
                  <c:v>Prieš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errBars>
            <c:errBarType val="both"/>
            <c:errValType val="cust"/>
            <c:noEndCap val="0"/>
            <c:plus>
              <c:numRef>
                <c:f>Puls_Kvep!$M$28:$M$29</c:f>
                <c:numCache>
                  <c:formatCode>General</c:formatCode>
                  <c:ptCount val="2"/>
                  <c:pt idx="0">
                    <c:v>10.387492478938313</c:v>
                  </c:pt>
                  <c:pt idx="1">
                    <c:v>2.16794833886788</c:v>
                  </c:pt>
                </c:numCache>
              </c:numRef>
            </c:plus>
            <c:minus>
              <c:numRef>
                <c:f>Puls_Kvep!$M$28:$M$29</c:f>
                <c:numCache>
                  <c:formatCode>General</c:formatCode>
                  <c:ptCount val="2"/>
                  <c:pt idx="0">
                    <c:v>10.387492478938313</c:v>
                  </c:pt>
                  <c:pt idx="1">
                    <c:v>2.16794833886788</c:v>
                  </c:pt>
                </c:numCache>
              </c:numRef>
            </c:minus>
            <c:spPr>
              <a:noFill/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cat>
            <c:strRef>
              <c:f>Puls_Kvep!$L$25:$L$26</c:f>
              <c:strCache>
                <c:ptCount val="2"/>
                <c:pt idx="0">
                  <c:v>Pulso dažnis</c:v>
                </c:pt>
                <c:pt idx="1">
                  <c:v>Kvėpavimo dažnis</c:v>
                </c:pt>
              </c:strCache>
            </c:strRef>
          </c:cat>
          <c:val>
            <c:numRef>
              <c:f>Puls_Kvep!$M$25:$M$26</c:f>
              <c:numCache>
                <c:formatCode>General</c:formatCode>
                <c:ptCount val="2"/>
                <c:pt idx="0">
                  <c:v>108.5</c:v>
                </c:pt>
                <c:pt idx="1">
                  <c:v>1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1D9-4591-85E5-5AEC05CE4D45}"/>
            </c:ext>
          </c:extLst>
        </c:ser>
        <c:ser>
          <c:idx val="1"/>
          <c:order val="1"/>
          <c:tx>
            <c:strRef>
              <c:f>Puls_Kvep!$N$24</c:f>
              <c:strCache>
                <c:ptCount val="1"/>
                <c:pt idx="0">
                  <c:v>Po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errBars>
            <c:errBarType val="both"/>
            <c:errValType val="cust"/>
            <c:noEndCap val="0"/>
            <c:plus>
              <c:numRef>
                <c:f>Puls_Kvep!$N$28:$N$29</c:f>
                <c:numCache>
                  <c:formatCode>General</c:formatCode>
                  <c:ptCount val="2"/>
                  <c:pt idx="0">
                    <c:v>14.288690166235172</c:v>
                  </c:pt>
                  <c:pt idx="1">
                    <c:v>3.723797345005043</c:v>
                  </c:pt>
                </c:numCache>
              </c:numRef>
            </c:plus>
            <c:minus>
              <c:numRef>
                <c:f>Puls_Kvep!$N$28:$N$29</c:f>
                <c:numCache>
                  <c:formatCode>General</c:formatCode>
                  <c:ptCount val="2"/>
                  <c:pt idx="0">
                    <c:v>14.288690166235172</c:v>
                  </c:pt>
                  <c:pt idx="1">
                    <c:v>3.723797345005043</c:v>
                  </c:pt>
                </c:numCache>
              </c:numRef>
            </c:minus>
            <c:spPr>
              <a:noFill/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cat>
            <c:strRef>
              <c:f>Puls_Kvep!$L$25:$L$26</c:f>
              <c:strCache>
                <c:ptCount val="2"/>
                <c:pt idx="0">
                  <c:v>Pulso dažnis</c:v>
                </c:pt>
                <c:pt idx="1">
                  <c:v>Kvėpavimo dažnis</c:v>
                </c:pt>
              </c:strCache>
            </c:strRef>
          </c:cat>
          <c:val>
            <c:numRef>
              <c:f>Puls_Kvep!$N$25:$N$26</c:f>
              <c:numCache>
                <c:formatCode>General</c:formatCode>
                <c:ptCount val="2"/>
                <c:pt idx="0">
                  <c:v>120.16666666666667</c:v>
                </c:pt>
                <c:pt idx="1">
                  <c:v>27.3333333333333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1D9-4591-85E5-5AEC05CE4D4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750596720"/>
        <c:axId val="750588848"/>
      </c:barChart>
      <c:catAx>
        <c:axId val="7505967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50588848"/>
        <c:crosses val="autoZero"/>
        <c:auto val="1"/>
        <c:lblAlgn val="ctr"/>
        <c:lblOffset val="100"/>
        <c:noMultiLvlLbl val="0"/>
      </c:catAx>
      <c:valAx>
        <c:axId val="7505888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k./min.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5059672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 sz="1400"/>
      </a:pPr>
      <a:endParaRPr lang="en-US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lt-L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DB!$B$33</c:f>
              <c:strCache>
                <c:ptCount val="1"/>
                <c:pt idx="0">
                  <c:v>Mūza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DB!$A$34:$A$37</c:f>
              <c:strCache>
                <c:ptCount val="4"/>
                <c:pt idx="0">
                  <c:v>Stereotipinė elgsena</c:v>
                </c:pt>
                <c:pt idx="1">
                  <c:v>Agresyvi elgsena</c:v>
                </c:pt>
                <c:pt idx="2">
                  <c:v>Neigiamos patirties (nepasitenkinimo) elgsena</c:v>
                </c:pt>
                <c:pt idx="3">
                  <c:v>Teigiamos patirties (džiaugsmo) elgsena</c:v>
                </c:pt>
              </c:strCache>
            </c:strRef>
          </c:cat>
          <c:val>
            <c:numRef>
              <c:f>DB!$B$34:$B$37</c:f>
              <c:numCache>
                <c:formatCode>General</c:formatCode>
                <c:ptCount val="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7F0-471A-81CD-A774A8339C78}"/>
            </c:ext>
          </c:extLst>
        </c:ser>
        <c:ser>
          <c:idx val="1"/>
          <c:order val="1"/>
          <c:tx>
            <c:strRef>
              <c:f>DB!$C$33</c:f>
              <c:strCache>
                <c:ptCount val="1"/>
                <c:pt idx="0">
                  <c:v>Mukas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DB!$A$34:$A$37</c:f>
              <c:strCache>
                <c:ptCount val="4"/>
                <c:pt idx="0">
                  <c:v>Stereotipinė elgsena</c:v>
                </c:pt>
                <c:pt idx="1">
                  <c:v>Agresyvi elgsena</c:v>
                </c:pt>
                <c:pt idx="2">
                  <c:v>Neigiamos patirties (nepasitenkinimo) elgsena</c:v>
                </c:pt>
                <c:pt idx="3">
                  <c:v>Teigiamos patirties (džiaugsmo) elgsena</c:v>
                </c:pt>
              </c:strCache>
            </c:strRef>
          </c:cat>
          <c:val>
            <c:numRef>
              <c:f>DB!$C$34:$C$37</c:f>
              <c:numCache>
                <c:formatCode>General</c:formatCode>
                <c:ptCount val="4"/>
                <c:pt idx="0">
                  <c:v>0</c:v>
                </c:pt>
                <c:pt idx="1">
                  <c:v>0</c:v>
                </c:pt>
                <c:pt idx="2">
                  <c:v>0.66666666666666663</c:v>
                </c:pt>
                <c:pt idx="3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7F0-471A-81CD-A774A8339C78}"/>
            </c:ext>
          </c:extLst>
        </c:ser>
        <c:ser>
          <c:idx val="2"/>
          <c:order val="2"/>
          <c:tx>
            <c:strRef>
              <c:f>DB!$D$33</c:f>
              <c:strCache>
                <c:ptCount val="1"/>
                <c:pt idx="0">
                  <c:v>Šaras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strRef>
              <c:f>DB!$A$34:$A$37</c:f>
              <c:strCache>
                <c:ptCount val="4"/>
                <c:pt idx="0">
                  <c:v>Stereotipinė elgsena</c:v>
                </c:pt>
                <c:pt idx="1">
                  <c:v>Agresyvi elgsena</c:v>
                </c:pt>
                <c:pt idx="2">
                  <c:v>Neigiamos patirties (nepasitenkinimo) elgsena</c:v>
                </c:pt>
                <c:pt idx="3">
                  <c:v>Teigiamos patirties (džiaugsmo) elgsena</c:v>
                </c:pt>
              </c:strCache>
            </c:strRef>
          </c:cat>
          <c:val>
            <c:numRef>
              <c:f>DB!$D$34:$D$37</c:f>
              <c:numCache>
                <c:formatCode>General</c:formatCode>
                <c:ptCount val="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7F0-471A-81CD-A774A8339C78}"/>
            </c:ext>
          </c:extLst>
        </c:ser>
        <c:ser>
          <c:idx val="3"/>
          <c:order val="3"/>
          <c:tx>
            <c:strRef>
              <c:f>DB!$E$33</c:f>
              <c:strCache>
                <c:ptCount val="1"/>
                <c:pt idx="0">
                  <c:v>Gaja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DB!$A$34:$A$37</c:f>
              <c:strCache>
                <c:ptCount val="4"/>
                <c:pt idx="0">
                  <c:v>Stereotipinė elgsena</c:v>
                </c:pt>
                <c:pt idx="1">
                  <c:v>Agresyvi elgsena</c:v>
                </c:pt>
                <c:pt idx="2">
                  <c:v>Neigiamos patirties (nepasitenkinimo) elgsena</c:v>
                </c:pt>
                <c:pt idx="3">
                  <c:v>Teigiamos patirties (džiaugsmo) elgsena</c:v>
                </c:pt>
              </c:strCache>
            </c:strRef>
          </c:cat>
          <c:val>
            <c:numRef>
              <c:f>DB!$E$34:$E$37</c:f>
              <c:numCache>
                <c:formatCode>General</c:formatCode>
                <c:ptCount val="4"/>
                <c:pt idx="0">
                  <c:v>0</c:v>
                </c:pt>
                <c:pt idx="1">
                  <c:v>0</c:v>
                </c:pt>
                <c:pt idx="2">
                  <c:v>1</c:v>
                </c:pt>
                <c:pt idx="3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7F0-471A-81CD-A774A8339C7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908896472"/>
        <c:axId val="908900736"/>
      </c:barChart>
      <c:catAx>
        <c:axId val="908896472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08900736"/>
        <c:crosses val="autoZero"/>
        <c:auto val="1"/>
        <c:lblAlgn val="ctr"/>
        <c:lblOffset val="100"/>
        <c:noMultiLvlLbl val="0"/>
      </c:catAx>
      <c:valAx>
        <c:axId val="908900736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088964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2868212125658205"/>
          <c:y val="0.9178739658493259"/>
          <c:w val="0.46396080924667027"/>
          <c:h val="7.262033072862089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 sz="1400"/>
      </a:pPr>
      <a:endParaRPr lang="en-US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lt-L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Gaj_Muz_Sar!$AA$7</c:f>
              <c:strCache>
                <c:ptCount val="1"/>
                <c:pt idx="0">
                  <c:v>Prieš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errBars>
            <c:errBarType val="both"/>
            <c:errValType val="cust"/>
            <c:noEndCap val="0"/>
            <c:plus>
              <c:numRef>
                <c:f>Gaj_Muz_Sar!$AB$10:$AD$10</c:f>
                <c:numCache>
                  <c:formatCode>General</c:formatCode>
                  <c:ptCount val="3"/>
                  <c:pt idx="0">
                    <c:v>3.5355339059327378</c:v>
                  </c:pt>
                  <c:pt idx="1">
                    <c:v>1.0598742063723088</c:v>
                  </c:pt>
                  <c:pt idx="2">
                    <c:v>4.6057934531775659</c:v>
                  </c:pt>
                </c:numCache>
              </c:numRef>
            </c:plus>
            <c:minus>
              <c:numRef>
                <c:f>Gaj_Muz_Sar!$AB$10:$AD$10</c:f>
                <c:numCache>
                  <c:formatCode>General</c:formatCode>
                  <c:ptCount val="3"/>
                  <c:pt idx="0">
                    <c:v>3.5355339059327378</c:v>
                  </c:pt>
                  <c:pt idx="1">
                    <c:v>1.0598742063723088</c:v>
                  </c:pt>
                  <c:pt idx="2">
                    <c:v>4.6057934531775659</c:v>
                  </c:pt>
                </c:numCache>
              </c:numRef>
            </c:minus>
            <c:spPr>
              <a:noFill/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cat>
            <c:strRef>
              <c:f>Gaj_Muz_Sar!$AB$6:$AD$6</c:f>
              <c:strCache>
                <c:ptCount val="3"/>
                <c:pt idx="0">
                  <c:v>Gaja</c:v>
                </c:pt>
                <c:pt idx="1">
                  <c:v>Mūza</c:v>
                </c:pt>
                <c:pt idx="2">
                  <c:v>Šaras</c:v>
                </c:pt>
              </c:strCache>
            </c:strRef>
          </c:cat>
          <c:val>
            <c:numRef>
              <c:f>Gaj_Muz_Sar!$AB$7:$AD$7</c:f>
              <c:numCache>
                <c:formatCode>General</c:formatCode>
                <c:ptCount val="3"/>
                <c:pt idx="0">
                  <c:v>5.4</c:v>
                </c:pt>
                <c:pt idx="1">
                  <c:v>3.7666666666666671</c:v>
                </c:pt>
                <c:pt idx="2">
                  <c:v>7.03333333333333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531-4B3A-8716-EC9BE6D2313B}"/>
            </c:ext>
          </c:extLst>
        </c:ser>
        <c:ser>
          <c:idx val="1"/>
          <c:order val="1"/>
          <c:tx>
            <c:strRef>
              <c:f>Gaj_Muz_Sar!$AA$8</c:f>
              <c:strCache>
                <c:ptCount val="1"/>
                <c:pt idx="0">
                  <c:v>Po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errBars>
            <c:errBarType val="both"/>
            <c:errValType val="cust"/>
            <c:noEndCap val="0"/>
            <c:plus>
              <c:numRef>
                <c:f>Gaj_Muz_Sar!$AB$11:$AD$11</c:f>
                <c:numCache>
                  <c:formatCode>General</c:formatCode>
                  <c:ptCount val="3"/>
                  <c:pt idx="0">
                    <c:v>4.525483399593905</c:v>
                  </c:pt>
                  <c:pt idx="1">
                    <c:v>4.6032597145935616</c:v>
                  </c:pt>
                  <c:pt idx="2">
                    <c:v>5.1071844820148566</c:v>
                  </c:pt>
                </c:numCache>
              </c:numRef>
            </c:plus>
            <c:minus>
              <c:numRef>
                <c:f>Gaj_Muz_Sar!$AB$11:$AD$11</c:f>
                <c:numCache>
                  <c:formatCode>General</c:formatCode>
                  <c:ptCount val="3"/>
                  <c:pt idx="0">
                    <c:v>4.525483399593905</c:v>
                  </c:pt>
                  <c:pt idx="1">
                    <c:v>4.6032597145935616</c:v>
                  </c:pt>
                  <c:pt idx="2">
                    <c:v>5.1071844820148566</c:v>
                  </c:pt>
                </c:numCache>
              </c:numRef>
            </c:minus>
            <c:spPr>
              <a:noFill/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cat>
            <c:strRef>
              <c:f>Gaj_Muz_Sar!$AB$6:$AD$6</c:f>
              <c:strCache>
                <c:ptCount val="3"/>
                <c:pt idx="0">
                  <c:v>Gaja</c:v>
                </c:pt>
                <c:pt idx="1">
                  <c:v>Mūza</c:v>
                </c:pt>
                <c:pt idx="2">
                  <c:v>Šaras</c:v>
                </c:pt>
              </c:strCache>
            </c:strRef>
          </c:cat>
          <c:val>
            <c:numRef>
              <c:f>Gaj_Muz_Sar!$AB$8:$AD$8</c:f>
              <c:numCache>
                <c:formatCode>General</c:formatCode>
                <c:ptCount val="3"/>
                <c:pt idx="0">
                  <c:v>6.3</c:v>
                </c:pt>
                <c:pt idx="1">
                  <c:v>6.3999999999999995</c:v>
                </c:pt>
                <c:pt idx="2">
                  <c:v>6.96666666666666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531-4B3A-8716-EC9BE6D231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709388184"/>
        <c:axId val="709380640"/>
      </c:barChart>
      <c:catAx>
        <c:axId val="7093881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09380640"/>
        <c:crosses val="autoZero"/>
        <c:auto val="1"/>
        <c:lblAlgn val="ctr"/>
        <c:lblOffset val="100"/>
        <c:noMultiLvlLbl val="0"/>
      </c:catAx>
      <c:valAx>
        <c:axId val="7093806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ng/ml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093881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 sz="1400"/>
      </a:pPr>
      <a:endParaRPr lang="en-US"/>
    </a:p>
  </c:txPr>
  <c:externalData r:id="rId4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lt-L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9.6190134276196562E-2"/>
          <c:y val="2.832335660614331E-2"/>
          <c:w val="0.88877127618633422"/>
          <c:h val="0.64026932357943434"/>
        </c:manualLayout>
      </c:layout>
      <c:scatterChart>
        <c:scatterStyle val="lineMarker"/>
        <c:varyColors val="0"/>
        <c:ser>
          <c:idx val="0"/>
          <c:order val="0"/>
          <c:tx>
            <c:strRef>
              <c:f>Lapas2!$I$4</c:f>
              <c:strCache>
                <c:ptCount val="1"/>
                <c:pt idx="0">
                  <c:v>Prieš</c:v>
                </c:pt>
              </c:strCache>
            </c:strRef>
          </c:tx>
          <c:spPr>
            <a:ln w="1905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trendline>
            <c:spPr>
              <a:ln w="19050" cap="rnd">
                <a:solidFill>
                  <a:schemeClr val="accent1"/>
                </a:solidFill>
                <a:prstDash val="sysDot"/>
              </a:ln>
              <a:effectLst/>
            </c:spPr>
            <c:trendlineType val="linear"/>
            <c:dispRSqr val="0"/>
            <c:dispEq val="0"/>
          </c:trendline>
          <c:xVal>
            <c:numRef>
              <c:f>Lapas2!$H$5:$H$22</c:f>
              <c:numCache>
                <c:formatCode>m/d/yyyy</c:formatCode>
                <c:ptCount val="18"/>
                <c:pt idx="0">
                  <c:v>44462</c:v>
                </c:pt>
                <c:pt idx="1">
                  <c:v>44463</c:v>
                </c:pt>
                <c:pt idx="2">
                  <c:v>44469</c:v>
                </c:pt>
                <c:pt idx="3">
                  <c:v>44470</c:v>
                </c:pt>
                <c:pt idx="4">
                  <c:v>44476</c:v>
                </c:pt>
                <c:pt idx="5">
                  <c:v>44477</c:v>
                </c:pt>
                <c:pt idx="6">
                  <c:v>44462</c:v>
                </c:pt>
                <c:pt idx="7">
                  <c:v>44463</c:v>
                </c:pt>
                <c:pt idx="8">
                  <c:v>44469</c:v>
                </c:pt>
                <c:pt idx="9">
                  <c:v>44470</c:v>
                </c:pt>
                <c:pt idx="10">
                  <c:v>44476</c:v>
                </c:pt>
                <c:pt idx="11">
                  <c:v>44477</c:v>
                </c:pt>
                <c:pt idx="12">
                  <c:v>44462</c:v>
                </c:pt>
                <c:pt idx="13">
                  <c:v>44463</c:v>
                </c:pt>
                <c:pt idx="14">
                  <c:v>44469</c:v>
                </c:pt>
                <c:pt idx="15">
                  <c:v>44470</c:v>
                </c:pt>
                <c:pt idx="16">
                  <c:v>44476</c:v>
                </c:pt>
                <c:pt idx="17">
                  <c:v>44477</c:v>
                </c:pt>
              </c:numCache>
            </c:numRef>
          </c:xVal>
          <c:yVal>
            <c:numRef>
              <c:f>Lapas2!$I$5:$I$22</c:f>
              <c:numCache>
                <c:formatCode>General</c:formatCode>
                <c:ptCount val="18"/>
                <c:pt idx="0">
                  <c:v>35.6</c:v>
                </c:pt>
                <c:pt idx="1">
                  <c:v>35.6</c:v>
                </c:pt>
                <c:pt idx="2">
                  <c:v>35.6</c:v>
                </c:pt>
                <c:pt idx="3">
                  <c:v>37.1</c:v>
                </c:pt>
                <c:pt idx="4">
                  <c:v>37.200000000000003</c:v>
                </c:pt>
                <c:pt idx="5">
                  <c:v>36.1</c:v>
                </c:pt>
                <c:pt idx="6">
                  <c:v>35.5</c:v>
                </c:pt>
                <c:pt idx="7">
                  <c:v>34.299999999999997</c:v>
                </c:pt>
                <c:pt idx="8">
                  <c:v>35.299999999999997</c:v>
                </c:pt>
                <c:pt idx="9">
                  <c:v>36.700000000000003</c:v>
                </c:pt>
                <c:pt idx="10">
                  <c:v>35.5</c:v>
                </c:pt>
                <c:pt idx="11">
                  <c:v>34.4</c:v>
                </c:pt>
                <c:pt idx="12">
                  <c:v>35.6</c:v>
                </c:pt>
                <c:pt idx="13">
                  <c:v>35.6</c:v>
                </c:pt>
                <c:pt idx="14">
                  <c:v>35.5</c:v>
                </c:pt>
                <c:pt idx="15">
                  <c:v>36.5</c:v>
                </c:pt>
                <c:pt idx="16">
                  <c:v>36.9</c:v>
                </c:pt>
                <c:pt idx="17">
                  <c:v>35.29999999999999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173C-482C-8794-1A1136DA57E3}"/>
            </c:ext>
          </c:extLst>
        </c:ser>
        <c:ser>
          <c:idx val="1"/>
          <c:order val="1"/>
          <c:tx>
            <c:strRef>
              <c:f>Lapas2!$J$4</c:f>
              <c:strCache>
                <c:ptCount val="1"/>
                <c:pt idx="0">
                  <c:v>Po</c:v>
                </c:pt>
              </c:strCache>
            </c:strRef>
          </c:tx>
          <c:spPr>
            <a:ln w="1905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trendline>
            <c:spPr>
              <a:ln w="19050" cap="rnd">
                <a:solidFill>
                  <a:schemeClr val="accent2"/>
                </a:solidFill>
                <a:prstDash val="sysDot"/>
              </a:ln>
              <a:effectLst/>
            </c:spPr>
            <c:trendlineType val="linear"/>
            <c:dispRSqr val="0"/>
            <c:dispEq val="0"/>
          </c:trendline>
          <c:xVal>
            <c:numRef>
              <c:f>Lapas2!$H$5:$H$22</c:f>
              <c:numCache>
                <c:formatCode>m/d/yyyy</c:formatCode>
                <c:ptCount val="18"/>
                <c:pt idx="0">
                  <c:v>44462</c:v>
                </c:pt>
                <c:pt idx="1">
                  <c:v>44463</c:v>
                </c:pt>
                <c:pt idx="2">
                  <c:v>44469</c:v>
                </c:pt>
                <c:pt idx="3">
                  <c:v>44470</c:v>
                </c:pt>
                <c:pt idx="4">
                  <c:v>44476</c:v>
                </c:pt>
                <c:pt idx="5">
                  <c:v>44477</c:v>
                </c:pt>
                <c:pt idx="6">
                  <c:v>44462</c:v>
                </c:pt>
                <c:pt idx="7">
                  <c:v>44463</c:v>
                </c:pt>
                <c:pt idx="8">
                  <c:v>44469</c:v>
                </c:pt>
                <c:pt idx="9">
                  <c:v>44470</c:v>
                </c:pt>
                <c:pt idx="10">
                  <c:v>44476</c:v>
                </c:pt>
                <c:pt idx="11">
                  <c:v>44477</c:v>
                </c:pt>
                <c:pt idx="12">
                  <c:v>44462</c:v>
                </c:pt>
                <c:pt idx="13">
                  <c:v>44463</c:v>
                </c:pt>
                <c:pt idx="14">
                  <c:v>44469</c:v>
                </c:pt>
                <c:pt idx="15">
                  <c:v>44470</c:v>
                </c:pt>
                <c:pt idx="16">
                  <c:v>44476</c:v>
                </c:pt>
                <c:pt idx="17">
                  <c:v>44477</c:v>
                </c:pt>
              </c:numCache>
            </c:numRef>
          </c:xVal>
          <c:yVal>
            <c:numRef>
              <c:f>Lapas2!$J$5:$J$22</c:f>
              <c:numCache>
                <c:formatCode>General</c:formatCode>
                <c:ptCount val="18"/>
                <c:pt idx="0">
                  <c:v>35.200000000000003</c:v>
                </c:pt>
                <c:pt idx="1">
                  <c:v>36</c:v>
                </c:pt>
                <c:pt idx="2">
                  <c:v>36.200000000000003</c:v>
                </c:pt>
                <c:pt idx="3">
                  <c:v>36.5</c:v>
                </c:pt>
                <c:pt idx="4">
                  <c:v>36.9</c:v>
                </c:pt>
                <c:pt idx="5">
                  <c:v>35.5</c:v>
                </c:pt>
                <c:pt idx="6">
                  <c:v>35.6</c:v>
                </c:pt>
                <c:pt idx="7">
                  <c:v>36.4</c:v>
                </c:pt>
                <c:pt idx="8">
                  <c:v>34.4</c:v>
                </c:pt>
                <c:pt idx="9">
                  <c:v>36.6</c:v>
                </c:pt>
                <c:pt idx="10">
                  <c:v>35.5</c:v>
                </c:pt>
                <c:pt idx="11">
                  <c:v>35</c:v>
                </c:pt>
                <c:pt idx="12">
                  <c:v>35.6</c:v>
                </c:pt>
                <c:pt idx="13">
                  <c:v>35.700000000000003</c:v>
                </c:pt>
                <c:pt idx="14">
                  <c:v>36</c:v>
                </c:pt>
                <c:pt idx="15">
                  <c:v>36.700000000000003</c:v>
                </c:pt>
                <c:pt idx="16">
                  <c:v>36.299999999999997</c:v>
                </c:pt>
                <c:pt idx="17">
                  <c:v>35.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173C-482C-8794-1A1136DA57E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94563168"/>
        <c:axId val="494563496"/>
      </c:scatterChart>
      <c:valAx>
        <c:axId val="494563168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94563496"/>
        <c:crosses val="autoZero"/>
        <c:crossBetween val="midCat"/>
      </c:valAx>
      <c:valAx>
        <c:axId val="4945634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t °C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94563168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 sz="1400"/>
      </a:pPr>
      <a:endParaRPr lang="en-US"/>
    </a:p>
  </c:txPr>
  <c:externalData r:id="rId4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lt-L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P_K_Zirg!$H$4</c:f>
              <c:strCache>
                <c:ptCount val="1"/>
                <c:pt idx="0">
                  <c:v>Pulso dažnis, k./min.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multiLvlStrRef>
              <c:f>P_K_Zirg!$F$5:$G$10</c:f>
              <c:multiLvlStrCache>
                <c:ptCount val="6"/>
                <c:lvl>
                  <c:pt idx="0">
                    <c:v>Po</c:v>
                  </c:pt>
                  <c:pt idx="1">
                    <c:v>Prieš</c:v>
                  </c:pt>
                  <c:pt idx="2">
                    <c:v>Po</c:v>
                  </c:pt>
                  <c:pt idx="3">
                    <c:v>Prieš</c:v>
                  </c:pt>
                  <c:pt idx="4">
                    <c:v>Po</c:v>
                  </c:pt>
                  <c:pt idx="5">
                    <c:v>Prieš</c:v>
                  </c:pt>
                </c:lvl>
                <c:lvl>
                  <c:pt idx="0">
                    <c:v>Bučkis </c:v>
                  </c:pt>
                  <c:pt idx="2">
                    <c:v>Krantas </c:v>
                  </c:pt>
                  <c:pt idx="4">
                    <c:v>Liberia </c:v>
                  </c:pt>
                </c:lvl>
              </c:multiLvlStrCache>
            </c:multiLvlStrRef>
          </c:cat>
          <c:val>
            <c:numRef>
              <c:f>P_K_Zirg!$H$5:$H$10</c:f>
              <c:numCache>
                <c:formatCode>General</c:formatCode>
                <c:ptCount val="6"/>
                <c:pt idx="0">
                  <c:v>53.5</c:v>
                </c:pt>
                <c:pt idx="1">
                  <c:v>32.5</c:v>
                </c:pt>
                <c:pt idx="2">
                  <c:v>49</c:v>
                </c:pt>
                <c:pt idx="3">
                  <c:v>34</c:v>
                </c:pt>
                <c:pt idx="4">
                  <c:v>47.666666666666664</c:v>
                </c:pt>
                <c:pt idx="5">
                  <c:v>31.3333333333333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AC9-4508-A33E-71A5951D1FEE}"/>
            </c:ext>
          </c:extLst>
        </c:ser>
        <c:ser>
          <c:idx val="1"/>
          <c:order val="1"/>
          <c:tx>
            <c:strRef>
              <c:f>P_K_Zirg!$I$4</c:f>
              <c:strCache>
                <c:ptCount val="1"/>
                <c:pt idx="0">
                  <c:v> Kvėpavimo dažnis, k./min.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multiLvlStrRef>
              <c:f>P_K_Zirg!$F$5:$G$10</c:f>
              <c:multiLvlStrCache>
                <c:ptCount val="6"/>
                <c:lvl>
                  <c:pt idx="0">
                    <c:v>Po</c:v>
                  </c:pt>
                  <c:pt idx="1">
                    <c:v>Prieš</c:v>
                  </c:pt>
                  <c:pt idx="2">
                    <c:v>Po</c:v>
                  </c:pt>
                  <c:pt idx="3">
                    <c:v>Prieš</c:v>
                  </c:pt>
                  <c:pt idx="4">
                    <c:v>Po</c:v>
                  </c:pt>
                  <c:pt idx="5">
                    <c:v>Prieš</c:v>
                  </c:pt>
                </c:lvl>
                <c:lvl>
                  <c:pt idx="0">
                    <c:v>Bučkis </c:v>
                  </c:pt>
                  <c:pt idx="2">
                    <c:v>Krantas </c:v>
                  </c:pt>
                  <c:pt idx="4">
                    <c:v>Liberia </c:v>
                  </c:pt>
                </c:lvl>
              </c:multiLvlStrCache>
            </c:multiLvlStrRef>
          </c:cat>
          <c:val>
            <c:numRef>
              <c:f>P_K_Zirg!$I$5:$I$10</c:f>
              <c:numCache>
                <c:formatCode>General</c:formatCode>
                <c:ptCount val="6"/>
                <c:pt idx="0">
                  <c:v>15.833333333333334</c:v>
                </c:pt>
                <c:pt idx="1">
                  <c:v>10.5</c:v>
                </c:pt>
                <c:pt idx="2">
                  <c:v>20.666666666666668</c:v>
                </c:pt>
                <c:pt idx="3">
                  <c:v>11.666666666666666</c:v>
                </c:pt>
                <c:pt idx="4">
                  <c:v>17.666666666666668</c:v>
                </c:pt>
                <c:pt idx="5">
                  <c:v>10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AC9-4508-A33E-71A5951D1F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712670168"/>
        <c:axId val="712664592"/>
      </c:barChart>
      <c:catAx>
        <c:axId val="71267016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12664592"/>
        <c:crosses val="autoZero"/>
        <c:auto val="1"/>
        <c:lblAlgn val="ctr"/>
        <c:lblOffset val="100"/>
        <c:noMultiLvlLbl val="0"/>
      </c:catAx>
      <c:valAx>
        <c:axId val="71266459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1267016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 sz="1400"/>
      </a:pPr>
      <a:endParaRPr lang="en-US"/>
    </a:p>
  </c:txPr>
  <c:externalData r:id="rId4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lt-L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K$6</c:f>
              <c:strCache>
                <c:ptCount val="1"/>
                <c:pt idx="0">
                  <c:v>Kranta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J$7:$J$10</c:f>
              <c:strCache>
                <c:ptCount val="4"/>
                <c:pt idx="0">
                  <c:v>Stereotipinė elgsena</c:v>
                </c:pt>
                <c:pt idx="1">
                  <c:v>Agresyvi elgsena</c:v>
                </c:pt>
                <c:pt idx="2">
                  <c:v>Neigiamos patirties (nepasitenkinimo) elgsena</c:v>
                </c:pt>
                <c:pt idx="3">
                  <c:v>Teigiamos patirties (džiaugsmo) elgsena</c:v>
                </c:pt>
              </c:strCache>
            </c:strRef>
          </c:cat>
          <c:val>
            <c:numRef>
              <c:f>Sheet1!$K$7:$K$10</c:f>
              <c:numCache>
                <c:formatCode>General</c:formatCode>
                <c:ptCount val="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982-418C-AA07-41DB3C04BA36}"/>
            </c:ext>
          </c:extLst>
        </c:ser>
        <c:ser>
          <c:idx val="1"/>
          <c:order val="1"/>
          <c:tx>
            <c:strRef>
              <c:f>Sheet1!$L$6</c:f>
              <c:strCache>
                <c:ptCount val="1"/>
                <c:pt idx="0">
                  <c:v>Liberija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J$7:$J$10</c:f>
              <c:strCache>
                <c:ptCount val="4"/>
                <c:pt idx="0">
                  <c:v>Stereotipinė elgsena</c:v>
                </c:pt>
                <c:pt idx="1">
                  <c:v>Agresyvi elgsena</c:v>
                </c:pt>
                <c:pt idx="2">
                  <c:v>Neigiamos patirties (nepasitenkinimo) elgsena</c:v>
                </c:pt>
                <c:pt idx="3">
                  <c:v>Teigiamos patirties (džiaugsmo) elgsena</c:v>
                </c:pt>
              </c:strCache>
            </c:strRef>
          </c:cat>
          <c:val>
            <c:numRef>
              <c:f>Sheet1!$L$7:$L$10</c:f>
              <c:numCache>
                <c:formatCode>General</c:formatCode>
                <c:ptCount val="4"/>
                <c:pt idx="0">
                  <c:v>3</c:v>
                </c:pt>
                <c:pt idx="1">
                  <c:v>0</c:v>
                </c:pt>
                <c:pt idx="2">
                  <c:v>0</c:v>
                </c:pt>
                <c:pt idx="3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982-418C-AA07-41DB3C04BA36}"/>
            </c:ext>
          </c:extLst>
        </c:ser>
        <c:ser>
          <c:idx val="2"/>
          <c:order val="2"/>
          <c:tx>
            <c:strRef>
              <c:f>Sheet1!$M$6</c:f>
              <c:strCache>
                <c:ptCount val="1"/>
                <c:pt idx="0">
                  <c:v>Bučki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J$7:$J$10</c:f>
              <c:strCache>
                <c:ptCount val="4"/>
                <c:pt idx="0">
                  <c:v>Stereotipinė elgsena</c:v>
                </c:pt>
                <c:pt idx="1">
                  <c:v>Agresyvi elgsena</c:v>
                </c:pt>
                <c:pt idx="2">
                  <c:v>Neigiamos patirties (nepasitenkinimo) elgsena</c:v>
                </c:pt>
                <c:pt idx="3">
                  <c:v>Teigiamos patirties (džiaugsmo) elgsena</c:v>
                </c:pt>
              </c:strCache>
            </c:strRef>
          </c:cat>
          <c:val>
            <c:numRef>
              <c:f>Sheet1!$M$7:$M$10</c:f>
              <c:numCache>
                <c:formatCode>General</c:formatCode>
                <c:ptCount val="4"/>
                <c:pt idx="0">
                  <c:v>0.16666666666666666</c:v>
                </c:pt>
                <c:pt idx="1">
                  <c:v>0</c:v>
                </c:pt>
                <c:pt idx="2">
                  <c:v>0</c:v>
                </c:pt>
                <c:pt idx="3">
                  <c:v>6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982-418C-AA07-41DB3C04BA3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735315368"/>
        <c:axId val="735315696"/>
      </c:barChart>
      <c:catAx>
        <c:axId val="735315368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35315696"/>
        <c:crosses val="autoZero"/>
        <c:auto val="1"/>
        <c:lblAlgn val="ctr"/>
        <c:lblOffset val="100"/>
        <c:noMultiLvlLbl val="0"/>
      </c:catAx>
      <c:valAx>
        <c:axId val="735315696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Balai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3531536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 sz="1400"/>
      </a:pPr>
      <a:endParaRPr lang="en-US"/>
    </a:p>
  </c:txPr>
  <c:externalData r:id="rId4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lt-L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lineChart>
        <c:grouping val="standard"/>
        <c:varyColors val="0"/>
        <c:ser>
          <c:idx val="1"/>
          <c:order val="0"/>
          <c:tx>
            <c:strRef>
              <c:f>Buckis!$H$5</c:f>
              <c:strCache>
                <c:ptCount val="1"/>
                <c:pt idx="0">
                  <c:v>Prieš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circle"/>
            <c:size val="10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trendline>
            <c:spPr>
              <a:ln w="19050" cap="rnd">
                <a:solidFill>
                  <a:schemeClr val="accent2"/>
                </a:solidFill>
                <a:prstDash val="sysDot"/>
              </a:ln>
              <a:effectLst/>
            </c:spPr>
            <c:trendlineType val="linear"/>
            <c:dispRSqr val="0"/>
            <c:dispEq val="0"/>
          </c:trendline>
          <c:cat>
            <c:numRef>
              <c:f>Buckis!$G$6:$G$12</c:f>
              <c:numCache>
                <c:formatCode>General</c:formatCode>
                <c:ptCount val="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</c:numCache>
            </c:numRef>
          </c:cat>
          <c:val>
            <c:numRef>
              <c:f>Buckis!$H$6:$H$11</c:f>
              <c:numCache>
                <c:formatCode>General</c:formatCode>
                <c:ptCount val="6"/>
                <c:pt idx="0">
                  <c:v>8.9</c:v>
                </c:pt>
                <c:pt idx="1">
                  <c:v>6.5</c:v>
                </c:pt>
                <c:pt idx="2">
                  <c:v>12.9</c:v>
                </c:pt>
                <c:pt idx="3">
                  <c:v>7.5</c:v>
                </c:pt>
                <c:pt idx="5">
                  <c:v>11.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4ED-4711-B9E8-B443703C1A8C}"/>
            </c:ext>
          </c:extLst>
        </c:ser>
        <c:ser>
          <c:idx val="2"/>
          <c:order val="1"/>
          <c:tx>
            <c:strRef>
              <c:f>Buckis!$I$5</c:f>
              <c:strCache>
                <c:ptCount val="1"/>
                <c:pt idx="0">
                  <c:v>Po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circle"/>
            <c:size val="10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trendline>
            <c:spPr>
              <a:ln w="19050" cap="rnd">
                <a:solidFill>
                  <a:schemeClr val="accent3"/>
                </a:solidFill>
                <a:prstDash val="sysDot"/>
              </a:ln>
              <a:effectLst/>
            </c:spPr>
            <c:trendlineType val="linear"/>
            <c:dispRSqr val="0"/>
            <c:dispEq val="0"/>
          </c:trendline>
          <c:cat>
            <c:numRef>
              <c:f>Buckis!$G$6:$G$12</c:f>
              <c:numCache>
                <c:formatCode>General</c:formatCode>
                <c:ptCount val="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</c:numCache>
            </c:numRef>
          </c:cat>
          <c:val>
            <c:numRef>
              <c:f>Buckis!$I$6:$I$11</c:f>
              <c:numCache>
                <c:formatCode>General</c:formatCode>
                <c:ptCount val="6"/>
                <c:pt idx="0">
                  <c:v>3.1</c:v>
                </c:pt>
                <c:pt idx="1">
                  <c:v>3.8</c:v>
                </c:pt>
                <c:pt idx="2">
                  <c:v>6.7</c:v>
                </c:pt>
                <c:pt idx="3">
                  <c:v>5.0999999999999996</c:v>
                </c:pt>
                <c:pt idx="4">
                  <c:v>10.199999999999999</c:v>
                </c:pt>
                <c:pt idx="5">
                  <c:v>3.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4ED-4711-B9E8-B443703C1A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65989592"/>
        <c:axId val="657743592"/>
      </c:lineChart>
      <c:catAx>
        <c:axId val="66598959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Terapijos diena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57743592"/>
        <c:crosses val="autoZero"/>
        <c:auto val="1"/>
        <c:lblAlgn val="ctr"/>
        <c:lblOffset val="100"/>
        <c:noMultiLvlLbl val="0"/>
      </c:catAx>
      <c:valAx>
        <c:axId val="65774359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ng/ml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659895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 sz="1400"/>
      </a:pPr>
      <a:endParaRPr lang="en-US"/>
    </a:p>
  </c:txPr>
  <c:externalData r:id="rId4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lt-L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lineChart>
        <c:grouping val="standard"/>
        <c:varyColors val="0"/>
        <c:ser>
          <c:idx val="1"/>
          <c:order val="0"/>
          <c:tx>
            <c:strRef>
              <c:f>Krantas!$H$5</c:f>
              <c:strCache>
                <c:ptCount val="1"/>
                <c:pt idx="0">
                  <c:v>Prieš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circle"/>
            <c:size val="10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trendline>
            <c:spPr>
              <a:ln w="19050" cap="rnd">
                <a:solidFill>
                  <a:schemeClr val="accent2"/>
                </a:solidFill>
                <a:prstDash val="sysDot"/>
              </a:ln>
              <a:effectLst/>
            </c:spPr>
            <c:trendlineType val="linear"/>
            <c:dispRSqr val="0"/>
            <c:dispEq val="0"/>
          </c:trendline>
          <c:val>
            <c:numRef>
              <c:f>Krantas!$H$6:$H$12</c:f>
              <c:numCache>
                <c:formatCode>General</c:formatCode>
                <c:ptCount val="7"/>
                <c:pt idx="0">
                  <c:v>7.5</c:v>
                </c:pt>
                <c:pt idx="1">
                  <c:v>4.9000000000000004</c:v>
                </c:pt>
                <c:pt idx="2">
                  <c:v>9.5</c:v>
                </c:pt>
                <c:pt idx="3">
                  <c:v>6.1</c:v>
                </c:pt>
                <c:pt idx="4">
                  <c:v>14.6</c:v>
                </c:pt>
                <c:pt idx="5">
                  <c:v>13.5</c:v>
                </c:pt>
                <c:pt idx="6">
                  <c:v>4.59999999999999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D5-4DC8-B7DF-0DE205BCF9A7}"/>
            </c:ext>
          </c:extLst>
        </c:ser>
        <c:ser>
          <c:idx val="2"/>
          <c:order val="1"/>
          <c:tx>
            <c:strRef>
              <c:f>Krantas!$I$5</c:f>
              <c:strCache>
                <c:ptCount val="1"/>
                <c:pt idx="0">
                  <c:v>Po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circle"/>
            <c:size val="10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trendline>
            <c:spPr>
              <a:ln w="19050" cap="rnd">
                <a:solidFill>
                  <a:schemeClr val="accent3"/>
                </a:solidFill>
                <a:prstDash val="sysDot"/>
              </a:ln>
              <a:effectLst/>
            </c:spPr>
            <c:trendlineType val="linear"/>
            <c:dispRSqr val="0"/>
            <c:dispEq val="0"/>
          </c:trendline>
          <c:val>
            <c:numRef>
              <c:f>Krantas!$I$6:$I$12</c:f>
              <c:numCache>
                <c:formatCode>General</c:formatCode>
                <c:ptCount val="7"/>
                <c:pt idx="0">
                  <c:v>3.8</c:v>
                </c:pt>
                <c:pt idx="1">
                  <c:v>4.8</c:v>
                </c:pt>
                <c:pt idx="2">
                  <c:v>14.4</c:v>
                </c:pt>
                <c:pt idx="3">
                  <c:v>11.7</c:v>
                </c:pt>
                <c:pt idx="5">
                  <c:v>17.8</c:v>
                </c:pt>
                <c:pt idx="6">
                  <c:v>7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D5-4DC8-B7DF-0DE205BCF9A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65989592"/>
        <c:axId val="657743592"/>
      </c:lineChart>
      <c:catAx>
        <c:axId val="66598959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Terapijos diena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57743592"/>
        <c:crosses val="autoZero"/>
        <c:auto val="1"/>
        <c:lblAlgn val="ctr"/>
        <c:lblOffset val="100"/>
        <c:noMultiLvlLbl val="0"/>
      </c:catAx>
      <c:valAx>
        <c:axId val="65774359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ng/ml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659895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 sz="1400"/>
      </a:pPr>
      <a:endParaRPr lang="en-U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F6F29D6-B663-437F-BD17-5C9BD6543D4B}" type="doc">
      <dgm:prSet loTypeId="urn:microsoft.com/office/officeart/2005/8/layout/pyramid1" loCatId="pyramid" qsTypeId="urn:microsoft.com/office/officeart/2005/8/quickstyle/simple1" qsCatId="simple" csTypeId="urn:microsoft.com/office/officeart/2005/8/colors/colorful1" csCatId="colorful" phldr="1"/>
      <dgm:spPr/>
    </dgm:pt>
    <dgm:pt modelId="{CA64FFEE-5CBF-441A-BCBA-90721E2883E2}">
      <dgm:prSet phldrT="[Tekstas]" custT="1"/>
      <dgm:spPr>
        <a:solidFill>
          <a:srgbClr val="FD67DD"/>
        </a:solidFill>
      </dgm:spPr>
      <dgm:t>
        <a:bodyPr/>
        <a:lstStyle/>
        <a:p>
          <a:pPr>
            <a:lnSpc>
              <a:spcPts val="1000"/>
            </a:lnSpc>
            <a:spcBef>
              <a:spcPts val="600"/>
            </a:spcBef>
            <a:spcAft>
              <a:spcPts val="0"/>
            </a:spcAft>
          </a:pPr>
          <a:r>
            <a:rPr lang="lt-LT" sz="1200" dirty="0"/>
            <a:t>PASI</a:t>
          </a:r>
        </a:p>
        <a:p>
          <a:pPr>
            <a:lnSpc>
              <a:spcPts val="1000"/>
            </a:lnSpc>
            <a:spcBef>
              <a:spcPts val="600"/>
            </a:spcBef>
            <a:spcAft>
              <a:spcPts val="0"/>
            </a:spcAft>
          </a:pPr>
          <a:r>
            <a:rPr lang="lt-LT" sz="1200" dirty="0"/>
            <a:t>RINKIMAS</a:t>
          </a:r>
        </a:p>
      </dgm:t>
    </dgm:pt>
    <dgm:pt modelId="{D4D38F97-E9EA-4AA5-A931-D3EFA16C42DE}" type="parTrans" cxnId="{B15EEC71-2BA8-4013-B11A-9967243B4DA4}">
      <dgm:prSet/>
      <dgm:spPr/>
      <dgm:t>
        <a:bodyPr/>
        <a:lstStyle/>
        <a:p>
          <a:endParaRPr lang="lt-LT"/>
        </a:p>
      </dgm:t>
    </dgm:pt>
    <dgm:pt modelId="{BDB4A3CF-CCA1-4C97-B6D0-9996C3456923}" type="sibTrans" cxnId="{B15EEC71-2BA8-4013-B11A-9967243B4DA4}">
      <dgm:prSet/>
      <dgm:spPr/>
      <dgm:t>
        <a:bodyPr/>
        <a:lstStyle/>
        <a:p>
          <a:endParaRPr lang="lt-LT"/>
        </a:p>
      </dgm:t>
    </dgm:pt>
    <dgm:pt modelId="{44B90D67-3574-4D51-8381-09CDC915F672}">
      <dgm:prSet phldrT="[Tekstas]"/>
      <dgm:spPr>
        <a:solidFill>
          <a:srgbClr val="6FEFF5"/>
        </a:solidFill>
      </dgm:spPr>
      <dgm:t>
        <a:bodyPr/>
        <a:lstStyle/>
        <a:p>
          <a:r>
            <a:rPr lang="lt-LT"/>
            <a:t>PSICHIKOS MODELIAVIMAS</a:t>
          </a:r>
        </a:p>
      </dgm:t>
    </dgm:pt>
    <dgm:pt modelId="{BDA60FED-6850-403E-B084-9CC892FB6F37}" type="parTrans" cxnId="{4CFF7233-45CF-4E38-982E-D409F29830B7}">
      <dgm:prSet/>
      <dgm:spPr/>
      <dgm:t>
        <a:bodyPr/>
        <a:lstStyle/>
        <a:p>
          <a:endParaRPr lang="lt-LT"/>
        </a:p>
      </dgm:t>
    </dgm:pt>
    <dgm:pt modelId="{70D0B564-CA21-4D2A-9169-AEB00C62196E}" type="sibTrans" cxnId="{4CFF7233-45CF-4E38-982E-D409F29830B7}">
      <dgm:prSet/>
      <dgm:spPr/>
      <dgm:t>
        <a:bodyPr/>
        <a:lstStyle/>
        <a:p>
          <a:endParaRPr lang="lt-LT"/>
        </a:p>
      </dgm:t>
    </dgm:pt>
    <dgm:pt modelId="{52056A83-98EE-4F4F-BEE7-0EA7DF6593D3}">
      <dgm:prSet phldrT="[Tekstas]" custT="1"/>
      <dgm:spPr>
        <a:solidFill>
          <a:srgbClr val="2AEE4B"/>
        </a:solidFill>
      </dgm:spPr>
      <dgm:t>
        <a:bodyPr/>
        <a:lstStyle/>
        <a:p>
          <a:r>
            <a:rPr lang="lt-LT" sz="1400" dirty="0"/>
            <a:t>SOCIALINIAI POREIKIAI</a:t>
          </a:r>
        </a:p>
        <a:p>
          <a:r>
            <a:rPr lang="lt-LT" sz="1400" dirty="0"/>
            <a:t>Gyvūnų sugrupavimas ir laikymas atsižvelgiant į rūšinius poreikius</a:t>
          </a:r>
        </a:p>
      </dgm:t>
    </dgm:pt>
    <dgm:pt modelId="{9ECF07C6-6559-4764-B83E-4CA362EC9C25}" type="parTrans" cxnId="{96E153CB-024D-4E41-B4A0-0F4BF57CFE4D}">
      <dgm:prSet/>
      <dgm:spPr/>
      <dgm:t>
        <a:bodyPr/>
        <a:lstStyle/>
        <a:p>
          <a:endParaRPr lang="lt-LT"/>
        </a:p>
      </dgm:t>
    </dgm:pt>
    <dgm:pt modelId="{5B062EDF-0009-40B0-8D30-D8064BD62A10}" type="sibTrans" cxnId="{96E153CB-024D-4E41-B4A0-0F4BF57CFE4D}">
      <dgm:prSet/>
      <dgm:spPr/>
      <dgm:t>
        <a:bodyPr/>
        <a:lstStyle/>
        <a:p>
          <a:endParaRPr lang="lt-LT"/>
        </a:p>
      </dgm:t>
    </dgm:pt>
    <dgm:pt modelId="{65060231-F187-4743-9173-00F090C3D86C}">
      <dgm:prSet phldrT="[Tekstas]" custT="1"/>
      <dgm:spPr>
        <a:solidFill>
          <a:srgbClr val="FFFF00"/>
        </a:solidFill>
      </dgm:spPr>
      <dgm:t>
        <a:bodyPr/>
        <a:lstStyle/>
        <a:p>
          <a:r>
            <a:rPr lang="lt-LT" sz="1600" dirty="0"/>
            <a:t>SAUGUMO POREIKIAI</a:t>
          </a:r>
        </a:p>
        <a:p>
          <a:r>
            <a:rPr lang="lt-LT" sz="1600" dirty="0"/>
            <a:t>Tinkama kiekvienai gyvūnų rūšiai pritaikyta, nekelianti pavojaus aplinka</a:t>
          </a:r>
        </a:p>
      </dgm:t>
    </dgm:pt>
    <dgm:pt modelId="{7B21EF5C-61E9-4D3E-848D-BEB91BFE2922}" type="parTrans" cxnId="{BAAEBFE5-CD87-477C-BD5B-332375BB1722}">
      <dgm:prSet/>
      <dgm:spPr/>
      <dgm:t>
        <a:bodyPr/>
        <a:lstStyle/>
        <a:p>
          <a:endParaRPr lang="lt-LT"/>
        </a:p>
      </dgm:t>
    </dgm:pt>
    <dgm:pt modelId="{831B70C4-4A52-427E-B931-C00A05E27ED2}" type="sibTrans" cxnId="{BAAEBFE5-CD87-477C-BD5B-332375BB1722}">
      <dgm:prSet/>
      <dgm:spPr/>
      <dgm:t>
        <a:bodyPr/>
        <a:lstStyle/>
        <a:p>
          <a:endParaRPr lang="lt-LT"/>
        </a:p>
      </dgm:t>
    </dgm:pt>
    <dgm:pt modelId="{7FB7BC66-64EB-4D47-987C-6392007C71BC}">
      <dgm:prSet phldrT="[Tekstas]" custT="1"/>
      <dgm:spPr>
        <a:solidFill>
          <a:srgbClr val="FF0000"/>
        </a:solidFill>
      </dgm:spPr>
      <dgm:t>
        <a:bodyPr/>
        <a:lstStyle/>
        <a:p>
          <a:r>
            <a:rPr lang="lt-LT" sz="1600" dirty="0">
              <a:solidFill>
                <a:schemeClr val="bg1"/>
              </a:solidFill>
            </a:rPr>
            <a:t>FIZINIAI POREIKIAI</a:t>
          </a:r>
        </a:p>
        <a:p>
          <a:r>
            <a:rPr lang="lt-LT" sz="1600" dirty="0">
              <a:solidFill>
                <a:schemeClr val="bg1"/>
              </a:solidFill>
            </a:rPr>
            <a:t>Pastogė, švarus vanduo, pašaras, sanitarinės gyvenimo sąlygos</a:t>
          </a:r>
        </a:p>
      </dgm:t>
    </dgm:pt>
    <dgm:pt modelId="{778AC1A1-9424-42CA-8C31-6154BC4DAC8C}" type="parTrans" cxnId="{229AD836-FE5F-4EE6-92DE-0F6EF0FBC89A}">
      <dgm:prSet/>
      <dgm:spPr/>
      <dgm:t>
        <a:bodyPr/>
        <a:lstStyle/>
        <a:p>
          <a:endParaRPr lang="lt-LT"/>
        </a:p>
      </dgm:t>
    </dgm:pt>
    <dgm:pt modelId="{6B164A60-AEA8-4F2F-BE32-3CA44B20A044}" type="sibTrans" cxnId="{229AD836-FE5F-4EE6-92DE-0F6EF0FBC89A}">
      <dgm:prSet/>
      <dgm:spPr/>
      <dgm:t>
        <a:bodyPr/>
        <a:lstStyle/>
        <a:p>
          <a:endParaRPr lang="lt-LT"/>
        </a:p>
      </dgm:t>
    </dgm:pt>
    <dgm:pt modelId="{4FE9B573-2BDB-4302-8931-0D0709645F94}">
      <dgm:prSet phldrT="[Tekstas]" custT="1"/>
      <dgm:spPr>
        <a:solidFill>
          <a:schemeClr val="accent4"/>
        </a:solidFill>
      </dgm:spPr>
      <dgm:t>
        <a:bodyPr/>
        <a:lstStyle/>
        <a:p>
          <a:r>
            <a:rPr lang="lt-LT" sz="1600" dirty="0">
              <a:solidFill>
                <a:schemeClr val="bg1"/>
              </a:solidFill>
            </a:rPr>
            <a:t>VETERINARINĖ PRIEŽIŪRA</a:t>
          </a:r>
        </a:p>
        <a:p>
          <a:r>
            <a:rPr lang="lt-LT" sz="1600" dirty="0">
              <a:solidFill>
                <a:schemeClr val="bg1"/>
              </a:solidFill>
            </a:rPr>
            <a:t>Ligų </a:t>
          </a:r>
          <a:r>
            <a:rPr lang="lt-LT" sz="1600" dirty="0" err="1">
              <a:solidFill>
                <a:schemeClr val="bg1"/>
              </a:solidFill>
            </a:rPr>
            <a:t>išvengiamumas</a:t>
          </a:r>
          <a:r>
            <a:rPr lang="lt-LT" sz="1600" dirty="0">
              <a:solidFill>
                <a:schemeClr val="bg1"/>
              </a:solidFill>
            </a:rPr>
            <a:t>, sužeidimų rizikos mažinimas, tinkamas šėrimas, svorio kontrolė</a:t>
          </a:r>
        </a:p>
      </dgm:t>
    </dgm:pt>
    <dgm:pt modelId="{E83C2231-1F10-4738-A4F6-52EBEC6E1282}" type="sibTrans" cxnId="{153E7028-E680-4B6F-8F68-981FC92C67B6}">
      <dgm:prSet/>
      <dgm:spPr/>
      <dgm:t>
        <a:bodyPr/>
        <a:lstStyle/>
        <a:p>
          <a:endParaRPr lang="lt-LT"/>
        </a:p>
      </dgm:t>
    </dgm:pt>
    <dgm:pt modelId="{9215C425-D8AC-4818-A80F-3AFCD15E7AF3}" type="parTrans" cxnId="{153E7028-E680-4B6F-8F68-981FC92C67B6}">
      <dgm:prSet/>
      <dgm:spPr/>
      <dgm:t>
        <a:bodyPr/>
        <a:lstStyle/>
        <a:p>
          <a:endParaRPr lang="lt-LT"/>
        </a:p>
      </dgm:t>
    </dgm:pt>
    <dgm:pt modelId="{CF7CE2F1-8810-4477-9ECD-A39435603A56}" type="pres">
      <dgm:prSet presAssocID="{2F6F29D6-B663-437F-BD17-5C9BD6543D4B}" presName="Name0" presStyleCnt="0">
        <dgm:presLayoutVars>
          <dgm:dir/>
          <dgm:animLvl val="lvl"/>
          <dgm:resizeHandles val="exact"/>
        </dgm:presLayoutVars>
      </dgm:prSet>
      <dgm:spPr/>
    </dgm:pt>
    <dgm:pt modelId="{AE555219-5291-4C11-BB58-09BE65E1E313}" type="pres">
      <dgm:prSet presAssocID="{CA64FFEE-5CBF-441A-BCBA-90721E2883E2}" presName="Name8" presStyleCnt="0"/>
      <dgm:spPr/>
    </dgm:pt>
    <dgm:pt modelId="{9EC692D1-2617-4626-AEFF-46C69C0ECB0A}" type="pres">
      <dgm:prSet presAssocID="{CA64FFEE-5CBF-441A-BCBA-90721E2883E2}" presName="level" presStyleLbl="node1" presStyleIdx="0" presStyleCnt="6">
        <dgm:presLayoutVars>
          <dgm:chMax val="1"/>
          <dgm:bulletEnabled val="1"/>
        </dgm:presLayoutVars>
      </dgm:prSet>
      <dgm:spPr/>
    </dgm:pt>
    <dgm:pt modelId="{96057582-C01C-40E6-A846-1AC820150218}" type="pres">
      <dgm:prSet presAssocID="{CA64FFEE-5CBF-441A-BCBA-90721E2883E2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27C87C7-AA1C-46D7-9436-836F9E0F6063}" type="pres">
      <dgm:prSet presAssocID="{44B90D67-3574-4D51-8381-09CDC915F672}" presName="Name8" presStyleCnt="0"/>
      <dgm:spPr/>
    </dgm:pt>
    <dgm:pt modelId="{2E9E3CD5-9944-4B65-9134-D5A685BB6351}" type="pres">
      <dgm:prSet presAssocID="{44B90D67-3574-4D51-8381-09CDC915F672}" presName="level" presStyleLbl="node1" presStyleIdx="1" presStyleCnt="6">
        <dgm:presLayoutVars>
          <dgm:chMax val="1"/>
          <dgm:bulletEnabled val="1"/>
        </dgm:presLayoutVars>
      </dgm:prSet>
      <dgm:spPr/>
    </dgm:pt>
    <dgm:pt modelId="{3AFA90AD-D8E5-40F0-B811-B2E2F25415A2}" type="pres">
      <dgm:prSet presAssocID="{44B90D67-3574-4D51-8381-09CDC915F672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D7E8A82-3C45-4F20-8704-28A31B24ED3E}" type="pres">
      <dgm:prSet presAssocID="{52056A83-98EE-4F4F-BEE7-0EA7DF6593D3}" presName="Name8" presStyleCnt="0"/>
      <dgm:spPr/>
    </dgm:pt>
    <dgm:pt modelId="{0257565C-2429-451C-8E32-7B75BD7AD227}" type="pres">
      <dgm:prSet presAssocID="{52056A83-98EE-4F4F-BEE7-0EA7DF6593D3}" presName="level" presStyleLbl="node1" presStyleIdx="2" presStyleCnt="6">
        <dgm:presLayoutVars>
          <dgm:chMax val="1"/>
          <dgm:bulletEnabled val="1"/>
        </dgm:presLayoutVars>
      </dgm:prSet>
      <dgm:spPr/>
    </dgm:pt>
    <dgm:pt modelId="{4AAABA9F-5FA6-4BEB-9E1D-C72F2AEBF76C}" type="pres">
      <dgm:prSet presAssocID="{52056A83-98EE-4F4F-BEE7-0EA7DF6593D3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8CF14F9-094C-42C4-8F20-AA00316B8E85}" type="pres">
      <dgm:prSet presAssocID="{65060231-F187-4743-9173-00F090C3D86C}" presName="Name8" presStyleCnt="0"/>
      <dgm:spPr/>
    </dgm:pt>
    <dgm:pt modelId="{62AD9D23-E9D4-415E-8ACB-507EAC684C3E}" type="pres">
      <dgm:prSet presAssocID="{65060231-F187-4743-9173-00F090C3D86C}" presName="level" presStyleLbl="node1" presStyleIdx="3" presStyleCnt="6">
        <dgm:presLayoutVars>
          <dgm:chMax val="1"/>
          <dgm:bulletEnabled val="1"/>
        </dgm:presLayoutVars>
      </dgm:prSet>
      <dgm:spPr/>
    </dgm:pt>
    <dgm:pt modelId="{6443418E-7268-49F4-8159-CC40C2D867D8}" type="pres">
      <dgm:prSet presAssocID="{65060231-F187-4743-9173-00F090C3D86C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43BCBD4C-BB3B-4B4F-9F60-43FE1D7054BD}" type="pres">
      <dgm:prSet presAssocID="{4FE9B573-2BDB-4302-8931-0D0709645F94}" presName="Name8" presStyleCnt="0"/>
      <dgm:spPr/>
    </dgm:pt>
    <dgm:pt modelId="{3D9BD269-10B9-4DBA-9CDE-461DAE6F5DD0}" type="pres">
      <dgm:prSet presAssocID="{4FE9B573-2BDB-4302-8931-0D0709645F94}" presName="level" presStyleLbl="node1" presStyleIdx="4" presStyleCnt="6">
        <dgm:presLayoutVars>
          <dgm:chMax val="1"/>
          <dgm:bulletEnabled val="1"/>
        </dgm:presLayoutVars>
      </dgm:prSet>
      <dgm:spPr/>
    </dgm:pt>
    <dgm:pt modelId="{D2D3981D-83CA-4D0F-8CD3-342E9CBDF139}" type="pres">
      <dgm:prSet presAssocID="{4FE9B573-2BDB-4302-8931-0D0709645F94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4FDB52E2-5453-4F4D-8086-5C43C67160D4}" type="pres">
      <dgm:prSet presAssocID="{7FB7BC66-64EB-4D47-987C-6392007C71BC}" presName="Name8" presStyleCnt="0"/>
      <dgm:spPr/>
    </dgm:pt>
    <dgm:pt modelId="{C01E4A5B-19C2-47E2-AACB-D966F5CED0A6}" type="pres">
      <dgm:prSet presAssocID="{7FB7BC66-64EB-4D47-987C-6392007C71BC}" presName="level" presStyleLbl="node1" presStyleIdx="5" presStyleCnt="6" custLinFactNeighborY="64">
        <dgm:presLayoutVars>
          <dgm:chMax val="1"/>
          <dgm:bulletEnabled val="1"/>
        </dgm:presLayoutVars>
      </dgm:prSet>
      <dgm:spPr/>
    </dgm:pt>
    <dgm:pt modelId="{32D1F45F-1416-46CF-BBB6-4BD064E70227}" type="pres">
      <dgm:prSet presAssocID="{7FB7BC66-64EB-4D47-987C-6392007C71BC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B468730F-1D80-4DFA-8F14-1070BA48CC00}" type="presOf" srcId="{CA64FFEE-5CBF-441A-BCBA-90721E2883E2}" destId="{9EC692D1-2617-4626-AEFF-46C69C0ECB0A}" srcOrd="0" destOrd="0" presId="urn:microsoft.com/office/officeart/2005/8/layout/pyramid1"/>
    <dgm:cxn modelId="{153E7028-E680-4B6F-8F68-981FC92C67B6}" srcId="{2F6F29D6-B663-437F-BD17-5C9BD6543D4B}" destId="{4FE9B573-2BDB-4302-8931-0D0709645F94}" srcOrd="4" destOrd="0" parTransId="{9215C425-D8AC-4818-A80F-3AFCD15E7AF3}" sibTransId="{E83C2231-1F10-4738-A4F6-52EBEC6E1282}"/>
    <dgm:cxn modelId="{0AE0E332-19BE-425B-85EE-3F1FAB797035}" type="presOf" srcId="{7FB7BC66-64EB-4D47-987C-6392007C71BC}" destId="{C01E4A5B-19C2-47E2-AACB-D966F5CED0A6}" srcOrd="0" destOrd="0" presId="urn:microsoft.com/office/officeart/2005/8/layout/pyramid1"/>
    <dgm:cxn modelId="{4CFF7233-45CF-4E38-982E-D409F29830B7}" srcId="{2F6F29D6-B663-437F-BD17-5C9BD6543D4B}" destId="{44B90D67-3574-4D51-8381-09CDC915F672}" srcOrd="1" destOrd="0" parTransId="{BDA60FED-6850-403E-B084-9CC892FB6F37}" sibTransId="{70D0B564-CA21-4D2A-9169-AEB00C62196E}"/>
    <dgm:cxn modelId="{229AD836-FE5F-4EE6-92DE-0F6EF0FBC89A}" srcId="{2F6F29D6-B663-437F-BD17-5C9BD6543D4B}" destId="{7FB7BC66-64EB-4D47-987C-6392007C71BC}" srcOrd="5" destOrd="0" parTransId="{778AC1A1-9424-42CA-8C31-6154BC4DAC8C}" sibTransId="{6B164A60-AEA8-4F2F-BE32-3CA44B20A044}"/>
    <dgm:cxn modelId="{C1C6BA5F-50C0-4E1E-AAC9-4272872492DE}" type="presOf" srcId="{4FE9B573-2BDB-4302-8931-0D0709645F94}" destId="{3D9BD269-10B9-4DBA-9CDE-461DAE6F5DD0}" srcOrd="0" destOrd="0" presId="urn:microsoft.com/office/officeart/2005/8/layout/pyramid1"/>
    <dgm:cxn modelId="{B15EEC71-2BA8-4013-B11A-9967243B4DA4}" srcId="{2F6F29D6-B663-437F-BD17-5C9BD6543D4B}" destId="{CA64FFEE-5CBF-441A-BCBA-90721E2883E2}" srcOrd="0" destOrd="0" parTransId="{D4D38F97-E9EA-4AA5-A931-D3EFA16C42DE}" sibTransId="{BDB4A3CF-CCA1-4C97-B6D0-9996C3456923}"/>
    <dgm:cxn modelId="{170BB278-AAE2-48FD-AEA6-6634F2C2F69E}" type="presOf" srcId="{52056A83-98EE-4F4F-BEE7-0EA7DF6593D3}" destId="{0257565C-2429-451C-8E32-7B75BD7AD227}" srcOrd="0" destOrd="0" presId="urn:microsoft.com/office/officeart/2005/8/layout/pyramid1"/>
    <dgm:cxn modelId="{D21E3479-D651-40B4-9425-15BFDB9AD8DC}" type="presOf" srcId="{2F6F29D6-B663-437F-BD17-5C9BD6543D4B}" destId="{CF7CE2F1-8810-4477-9ECD-A39435603A56}" srcOrd="0" destOrd="0" presId="urn:microsoft.com/office/officeart/2005/8/layout/pyramid1"/>
    <dgm:cxn modelId="{3A22CB7A-3A70-4BB9-9FA9-B9682E186325}" type="presOf" srcId="{44B90D67-3574-4D51-8381-09CDC915F672}" destId="{3AFA90AD-D8E5-40F0-B811-B2E2F25415A2}" srcOrd="1" destOrd="0" presId="urn:microsoft.com/office/officeart/2005/8/layout/pyramid1"/>
    <dgm:cxn modelId="{C0576D7E-D8FE-42F4-9035-8C9919AC7973}" type="presOf" srcId="{65060231-F187-4743-9173-00F090C3D86C}" destId="{6443418E-7268-49F4-8159-CC40C2D867D8}" srcOrd="1" destOrd="0" presId="urn:microsoft.com/office/officeart/2005/8/layout/pyramid1"/>
    <dgm:cxn modelId="{D209AC96-B3A3-455E-95A7-1EA11C8C0E1D}" type="presOf" srcId="{52056A83-98EE-4F4F-BEE7-0EA7DF6593D3}" destId="{4AAABA9F-5FA6-4BEB-9E1D-C72F2AEBF76C}" srcOrd="1" destOrd="0" presId="urn:microsoft.com/office/officeart/2005/8/layout/pyramid1"/>
    <dgm:cxn modelId="{6FC56CB1-DE38-44EC-82B5-D3A1B2043286}" type="presOf" srcId="{CA64FFEE-5CBF-441A-BCBA-90721E2883E2}" destId="{96057582-C01C-40E6-A846-1AC820150218}" srcOrd="1" destOrd="0" presId="urn:microsoft.com/office/officeart/2005/8/layout/pyramid1"/>
    <dgm:cxn modelId="{AF8C88B3-3DCA-4879-B546-E09E3B12257F}" type="presOf" srcId="{44B90D67-3574-4D51-8381-09CDC915F672}" destId="{2E9E3CD5-9944-4B65-9134-D5A685BB6351}" srcOrd="0" destOrd="0" presId="urn:microsoft.com/office/officeart/2005/8/layout/pyramid1"/>
    <dgm:cxn modelId="{5BD559B9-EFFD-40ED-A6E2-14151D0DCCD2}" type="presOf" srcId="{4FE9B573-2BDB-4302-8931-0D0709645F94}" destId="{D2D3981D-83CA-4D0F-8CD3-342E9CBDF139}" srcOrd="1" destOrd="0" presId="urn:microsoft.com/office/officeart/2005/8/layout/pyramid1"/>
    <dgm:cxn modelId="{96E153CB-024D-4E41-B4A0-0F4BF57CFE4D}" srcId="{2F6F29D6-B663-437F-BD17-5C9BD6543D4B}" destId="{52056A83-98EE-4F4F-BEE7-0EA7DF6593D3}" srcOrd="2" destOrd="0" parTransId="{9ECF07C6-6559-4764-B83E-4CA362EC9C25}" sibTransId="{5B062EDF-0009-40B0-8D30-D8064BD62A10}"/>
    <dgm:cxn modelId="{8F2348DE-A73B-4C7E-AFC9-6BE64C2AE0A5}" type="presOf" srcId="{65060231-F187-4743-9173-00F090C3D86C}" destId="{62AD9D23-E9D4-415E-8ACB-507EAC684C3E}" srcOrd="0" destOrd="0" presId="urn:microsoft.com/office/officeart/2005/8/layout/pyramid1"/>
    <dgm:cxn modelId="{BAAEBFE5-CD87-477C-BD5B-332375BB1722}" srcId="{2F6F29D6-B663-437F-BD17-5C9BD6543D4B}" destId="{65060231-F187-4743-9173-00F090C3D86C}" srcOrd="3" destOrd="0" parTransId="{7B21EF5C-61E9-4D3E-848D-BEB91BFE2922}" sibTransId="{831B70C4-4A52-427E-B931-C00A05E27ED2}"/>
    <dgm:cxn modelId="{28E7F3FE-9E49-4760-BB54-ACB47B8746AA}" type="presOf" srcId="{7FB7BC66-64EB-4D47-987C-6392007C71BC}" destId="{32D1F45F-1416-46CF-BBB6-4BD064E70227}" srcOrd="1" destOrd="0" presId="urn:microsoft.com/office/officeart/2005/8/layout/pyramid1"/>
    <dgm:cxn modelId="{B44DE495-7991-4DC9-8435-AA6DF006A80A}" type="presParOf" srcId="{CF7CE2F1-8810-4477-9ECD-A39435603A56}" destId="{AE555219-5291-4C11-BB58-09BE65E1E313}" srcOrd="0" destOrd="0" presId="urn:microsoft.com/office/officeart/2005/8/layout/pyramid1"/>
    <dgm:cxn modelId="{171AC4ED-5477-40CD-BDC0-A376A7B40169}" type="presParOf" srcId="{AE555219-5291-4C11-BB58-09BE65E1E313}" destId="{9EC692D1-2617-4626-AEFF-46C69C0ECB0A}" srcOrd="0" destOrd="0" presId="urn:microsoft.com/office/officeart/2005/8/layout/pyramid1"/>
    <dgm:cxn modelId="{0CA710D0-510B-45A7-BA56-4B7BCAFED407}" type="presParOf" srcId="{AE555219-5291-4C11-BB58-09BE65E1E313}" destId="{96057582-C01C-40E6-A846-1AC820150218}" srcOrd="1" destOrd="0" presId="urn:microsoft.com/office/officeart/2005/8/layout/pyramid1"/>
    <dgm:cxn modelId="{6585FC90-C396-48E7-B2E7-306C10CE1C96}" type="presParOf" srcId="{CF7CE2F1-8810-4477-9ECD-A39435603A56}" destId="{727C87C7-AA1C-46D7-9436-836F9E0F6063}" srcOrd="1" destOrd="0" presId="urn:microsoft.com/office/officeart/2005/8/layout/pyramid1"/>
    <dgm:cxn modelId="{BB49BE0D-E85F-481E-920C-3B2E1EAF47A3}" type="presParOf" srcId="{727C87C7-AA1C-46D7-9436-836F9E0F6063}" destId="{2E9E3CD5-9944-4B65-9134-D5A685BB6351}" srcOrd="0" destOrd="0" presId="urn:microsoft.com/office/officeart/2005/8/layout/pyramid1"/>
    <dgm:cxn modelId="{C02F5548-EFB4-4420-94C4-DE56C98F6D11}" type="presParOf" srcId="{727C87C7-AA1C-46D7-9436-836F9E0F6063}" destId="{3AFA90AD-D8E5-40F0-B811-B2E2F25415A2}" srcOrd="1" destOrd="0" presId="urn:microsoft.com/office/officeart/2005/8/layout/pyramid1"/>
    <dgm:cxn modelId="{AAFDE090-280E-4847-99E1-0E2F53459493}" type="presParOf" srcId="{CF7CE2F1-8810-4477-9ECD-A39435603A56}" destId="{7D7E8A82-3C45-4F20-8704-28A31B24ED3E}" srcOrd="2" destOrd="0" presId="urn:microsoft.com/office/officeart/2005/8/layout/pyramid1"/>
    <dgm:cxn modelId="{2520FFCD-9317-4553-8B96-288346883D65}" type="presParOf" srcId="{7D7E8A82-3C45-4F20-8704-28A31B24ED3E}" destId="{0257565C-2429-451C-8E32-7B75BD7AD227}" srcOrd="0" destOrd="0" presId="urn:microsoft.com/office/officeart/2005/8/layout/pyramid1"/>
    <dgm:cxn modelId="{77D7E443-EB77-4197-BC7B-02D9B5E41955}" type="presParOf" srcId="{7D7E8A82-3C45-4F20-8704-28A31B24ED3E}" destId="{4AAABA9F-5FA6-4BEB-9E1D-C72F2AEBF76C}" srcOrd="1" destOrd="0" presId="urn:microsoft.com/office/officeart/2005/8/layout/pyramid1"/>
    <dgm:cxn modelId="{8EFEC61D-6B89-4EA5-B8E5-7777E257D4D2}" type="presParOf" srcId="{CF7CE2F1-8810-4477-9ECD-A39435603A56}" destId="{78CF14F9-094C-42C4-8F20-AA00316B8E85}" srcOrd="3" destOrd="0" presId="urn:microsoft.com/office/officeart/2005/8/layout/pyramid1"/>
    <dgm:cxn modelId="{0F760B16-B766-42B7-93BB-A6BFBC05B568}" type="presParOf" srcId="{78CF14F9-094C-42C4-8F20-AA00316B8E85}" destId="{62AD9D23-E9D4-415E-8ACB-507EAC684C3E}" srcOrd="0" destOrd="0" presId="urn:microsoft.com/office/officeart/2005/8/layout/pyramid1"/>
    <dgm:cxn modelId="{3F99BFBE-6B1F-4895-8F97-F7CA94F4EE62}" type="presParOf" srcId="{78CF14F9-094C-42C4-8F20-AA00316B8E85}" destId="{6443418E-7268-49F4-8159-CC40C2D867D8}" srcOrd="1" destOrd="0" presId="urn:microsoft.com/office/officeart/2005/8/layout/pyramid1"/>
    <dgm:cxn modelId="{F8ADF358-0891-463C-8D6D-36A0D1B5B652}" type="presParOf" srcId="{CF7CE2F1-8810-4477-9ECD-A39435603A56}" destId="{43BCBD4C-BB3B-4B4F-9F60-43FE1D7054BD}" srcOrd="4" destOrd="0" presId="urn:microsoft.com/office/officeart/2005/8/layout/pyramid1"/>
    <dgm:cxn modelId="{8A4506C1-FF8E-4F4C-90EE-9BCB89793DB6}" type="presParOf" srcId="{43BCBD4C-BB3B-4B4F-9F60-43FE1D7054BD}" destId="{3D9BD269-10B9-4DBA-9CDE-461DAE6F5DD0}" srcOrd="0" destOrd="0" presId="urn:microsoft.com/office/officeart/2005/8/layout/pyramid1"/>
    <dgm:cxn modelId="{094393F4-9D98-4D42-B8CF-3288792A4A77}" type="presParOf" srcId="{43BCBD4C-BB3B-4B4F-9F60-43FE1D7054BD}" destId="{D2D3981D-83CA-4D0F-8CD3-342E9CBDF139}" srcOrd="1" destOrd="0" presId="urn:microsoft.com/office/officeart/2005/8/layout/pyramid1"/>
    <dgm:cxn modelId="{AA595752-B1DE-484C-95CD-1524E1682512}" type="presParOf" srcId="{CF7CE2F1-8810-4477-9ECD-A39435603A56}" destId="{4FDB52E2-5453-4F4D-8086-5C43C67160D4}" srcOrd="5" destOrd="0" presId="urn:microsoft.com/office/officeart/2005/8/layout/pyramid1"/>
    <dgm:cxn modelId="{B5180215-39DF-4CC8-AF9F-97DDF33B86FD}" type="presParOf" srcId="{4FDB52E2-5453-4F4D-8086-5C43C67160D4}" destId="{C01E4A5B-19C2-47E2-AACB-D966F5CED0A6}" srcOrd="0" destOrd="0" presId="urn:microsoft.com/office/officeart/2005/8/layout/pyramid1"/>
    <dgm:cxn modelId="{9E7204D7-97EE-458E-9D46-034DB102BACE}" type="presParOf" srcId="{4FDB52E2-5453-4F4D-8086-5C43C67160D4}" destId="{32D1F45F-1416-46CF-BBB6-4BD064E70227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FC6FB74-9ED5-42DC-95FD-9CC399576A32}" type="doc">
      <dgm:prSet loTypeId="urn:microsoft.com/office/officeart/2005/8/layout/lProcess2" loCatId="list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lt-LT"/>
        </a:p>
      </dgm:t>
    </dgm:pt>
    <dgm:pt modelId="{16CD15F3-1CB0-4475-9A06-68F1305FCF19}">
      <dgm:prSet phldrT="[Text]"/>
      <dgm:spPr/>
      <dgm:t>
        <a:bodyPr/>
        <a:lstStyle/>
        <a:p>
          <a:r>
            <a:rPr lang="lt-LT" b="1"/>
            <a:t>Moduliuojantys (keičiantys) veiksniai</a:t>
          </a:r>
        </a:p>
      </dgm:t>
    </dgm:pt>
    <dgm:pt modelId="{86D04B8C-D676-4BB6-A89F-9B2FC6D902E9}" type="parTrans" cxnId="{0B306E9B-7D74-40A8-83E4-AB3EF4AF1073}">
      <dgm:prSet/>
      <dgm:spPr/>
      <dgm:t>
        <a:bodyPr/>
        <a:lstStyle/>
        <a:p>
          <a:endParaRPr lang="lt-LT"/>
        </a:p>
      </dgm:t>
    </dgm:pt>
    <dgm:pt modelId="{CBAFC69A-1F0A-4808-A177-6C1E7EBE3271}" type="sibTrans" cxnId="{0B306E9B-7D74-40A8-83E4-AB3EF4AF1073}">
      <dgm:prSet/>
      <dgm:spPr/>
      <dgm:t>
        <a:bodyPr/>
        <a:lstStyle/>
        <a:p>
          <a:endParaRPr lang="lt-LT"/>
        </a:p>
      </dgm:t>
    </dgm:pt>
    <dgm:pt modelId="{C7F503E1-0F17-4A08-8239-C4B42F21EB7D}">
      <dgm:prSet phldrT="[Text]" custT="1"/>
      <dgm:spPr>
        <a:solidFill>
          <a:srgbClr val="FFFFCC"/>
        </a:solidFill>
        <a:ln>
          <a:solidFill>
            <a:srgbClr val="FFFF00"/>
          </a:solidFill>
        </a:ln>
      </dgm:spPr>
      <dgm:t>
        <a:bodyPr/>
        <a:lstStyle/>
        <a:p>
          <a:r>
            <a:rPr lang="lt-LT" sz="1200" dirty="0"/>
            <a:t>Rūšis</a:t>
          </a:r>
        </a:p>
      </dgm:t>
    </dgm:pt>
    <dgm:pt modelId="{0D0405A2-D495-435B-99BF-DEFB05BB0CFE}" type="parTrans" cxnId="{98866E7D-14F7-4859-9775-0C18FD96FCF6}">
      <dgm:prSet/>
      <dgm:spPr/>
      <dgm:t>
        <a:bodyPr/>
        <a:lstStyle/>
        <a:p>
          <a:endParaRPr lang="lt-LT"/>
        </a:p>
      </dgm:t>
    </dgm:pt>
    <dgm:pt modelId="{943DA0E2-8EE8-4B9A-99B1-F6DEAE42F5F2}" type="sibTrans" cxnId="{98866E7D-14F7-4859-9775-0C18FD96FCF6}">
      <dgm:prSet/>
      <dgm:spPr/>
      <dgm:t>
        <a:bodyPr/>
        <a:lstStyle/>
        <a:p>
          <a:endParaRPr lang="lt-LT"/>
        </a:p>
      </dgm:t>
    </dgm:pt>
    <dgm:pt modelId="{B1ECF552-BA85-4AC5-A70F-E63E7CD824BB}">
      <dgm:prSet phldrT="[Text]"/>
      <dgm:spPr/>
      <dgm:t>
        <a:bodyPr/>
        <a:lstStyle/>
        <a:p>
          <a:r>
            <a:rPr lang="lt-LT" b="1"/>
            <a:t>Reakcija į dirgiklius</a:t>
          </a:r>
        </a:p>
      </dgm:t>
    </dgm:pt>
    <dgm:pt modelId="{D30E3BFB-8974-4133-B72E-69D9C21FF3F5}" type="parTrans" cxnId="{F19084B8-82A4-4364-914B-8DED5DD1DAE8}">
      <dgm:prSet/>
      <dgm:spPr/>
      <dgm:t>
        <a:bodyPr/>
        <a:lstStyle/>
        <a:p>
          <a:endParaRPr lang="lt-LT"/>
        </a:p>
      </dgm:t>
    </dgm:pt>
    <dgm:pt modelId="{49945783-F91C-4A96-92CE-26360E4A57E8}" type="sibTrans" cxnId="{F19084B8-82A4-4364-914B-8DED5DD1DAE8}">
      <dgm:prSet/>
      <dgm:spPr/>
      <dgm:t>
        <a:bodyPr/>
        <a:lstStyle/>
        <a:p>
          <a:endParaRPr lang="lt-LT"/>
        </a:p>
      </dgm:t>
    </dgm:pt>
    <dgm:pt modelId="{D57CD2BE-4252-464E-A1AD-727D70ADCBCD}">
      <dgm:prSet phldrT="[Text]" custT="1"/>
      <dgm:spPr>
        <a:solidFill>
          <a:srgbClr val="FFFFCC"/>
        </a:solidFill>
        <a:ln>
          <a:solidFill>
            <a:srgbClr val="FFFF00"/>
          </a:solidFill>
        </a:ln>
      </dgm:spPr>
      <dgm:t>
        <a:bodyPr/>
        <a:lstStyle/>
        <a:p>
          <a:r>
            <a:rPr lang="lt-LT" sz="1200" dirty="0"/>
            <a:t>Išsivystomoji reakcija</a:t>
          </a:r>
        </a:p>
      </dgm:t>
    </dgm:pt>
    <dgm:pt modelId="{6FBD6535-AC84-4E66-A87D-C2949C509205}" type="parTrans" cxnId="{B6DB9D5D-4E38-4DE6-AF49-CED46C474ED1}">
      <dgm:prSet/>
      <dgm:spPr/>
      <dgm:t>
        <a:bodyPr/>
        <a:lstStyle/>
        <a:p>
          <a:endParaRPr lang="lt-LT"/>
        </a:p>
      </dgm:t>
    </dgm:pt>
    <dgm:pt modelId="{ED0DB2F0-EB4B-41D7-A4F4-D1AAB75FAB88}" type="sibTrans" cxnId="{B6DB9D5D-4E38-4DE6-AF49-CED46C474ED1}">
      <dgm:prSet/>
      <dgm:spPr/>
      <dgm:t>
        <a:bodyPr/>
        <a:lstStyle/>
        <a:p>
          <a:endParaRPr lang="lt-LT"/>
        </a:p>
      </dgm:t>
    </dgm:pt>
    <dgm:pt modelId="{F0D0B441-4F19-4736-848B-43799B822097}">
      <dgm:prSet phldrT="[Text]" custT="1"/>
      <dgm:spPr>
        <a:solidFill>
          <a:srgbClr val="FFFFCC"/>
        </a:solidFill>
        <a:ln>
          <a:solidFill>
            <a:srgbClr val="FFFF00"/>
          </a:solidFill>
        </a:ln>
      </dgm:spPr>
      <dgm:t>
        <a:bodyPr/>
        <a:lstStyle/>
        <a:p>
          <a:r>
            <a:rPr lang="lt-LT" sz="1200" dirty="0"/>
            <a:t>Hormoninė reakcija (gliukokortikoidai, katecholaminai, androgenai)</a:t>
          </a:r>
        </a:p>
      </dgm:t>
    </dgm:pt>
    <dgm:pt modelId="{EFA95D22-DE28-41AA-B6C8-C377FF94C11D}" type="parTrans" cxnId="{74BD32C9-25CB-4822-A455-A884CCF73355}">
      <dgm:prSet/>
      <dgm:spPr/>
      <dgm:t>
        <a:bodyPr/>
        <a:lstStyle/>
        <a:p>
          <a:endParaRPr lang="lt-LT"/>
        </a:p>
      </dgm:t>
    </dgm:pt>
    <dgm:pt modelId="{F932C3DB-424A-4A83-A57E-C9EAF99E7601}" type="sibTrans" cxnId="{74BD32C9-25CB-4822-A455-A884CCF73355}">
      <dgm:prSet/>
      <dgm:spPr/>
      <dgm:t>
        <a:bodyPr/>
        <a:lstStyle/>
        <a:p>
          <a:endParaRPr lang="lt-LT"/>
        </a:p>
      </dgm:t>
    </dgm:pt>
    <dgm:pt modelId="{4EBB1E33-2019-4F34-9A50-C31D0B9182C1}">
      <dgm:prSet phldrT="[Text]"/>
      <dgm:spPr/>
      <dgm:t>
        <a:bodyPr/>
        <a:lstStyle/>
        <a:p>
          <a:r>
            <a:rPr lang="lt-LT" b="1"/>
            <a:t>Pasekmės</a:t>
          </a:r>
        </a:p>
      </dgm:t>
    </dgm:pt>
    <dgm:pt modelId="{24D2947B-4344-4AAF-81E9-A4EFA555CD4A}" type="parTrans" cxnId="{1994AB44-4158-4F81-A270-489AFA4A270D}">
      <dgm:prSet/>
      <dgm:spPr/>
      <dgm:t>
        <a:bodyPr/>
        <a:lstStyle/>
        <a:p>
          <a:endParaRPr lang="lt-LT"/>
        </a:p>
      </dgm:t>
    </dgm:pt>
    <dgm:pt modelId="{2EB14861-20F9-4564-8DF9-2BC65EEDDC15}" type="sibTrans" cxnId="{1994AB44-4158-4F81-A270-489AFA4A270D}">
      <dgm:prSet/>
      <dgm:spPr/>
      <dgm:t>
        <a:bodyPr/>
        <a:lstStyle/>
        <a:p>
          <a:endParaRPr lang="lt-LT"/>
        </a:p>
      </dgm:t>
    </dgm:pt>
    <dgm:pt modelId="{2BC2E6A0-C9CF-45FC-B414-61BDD89FAFAA}">
      <dgm:prSet phldrT="[Text]" custT="1"/>
      <dgm:spPr>
        <a:solidFill>
          <a:srgbClr val="FFFFCC"/>
        </a:solidFill>
        <a:ln>
          <a:solidFill>
            <a:srgbClr val="FFFF00"/>
          </a:solidFill>
        </a:ln>
      </dgm:spPr>
      <dgm:t>
        <a:bodyPr/>
        <a:lstStyle/>
        <a:p>
          <a:r>
            <a:rPr lang="lt-LT" sz="1200" dirty="0"/>
            <a:t>Energijos poreikis</a:t>
          </a:r>
        </a:p>
      </dgm:t>
    </dgm:pt>
    <dgm:pt modelId="{834DA47A-E66A-42E0-8CA6-2B5D9FE19DD8}" type="parTrans" cxnId="{BE35017E-9413-46D9-8B93-90006911AF1E}">
      <dgm:prSet/>
      <dgm:spPr/>
      <dgm:t>
        <a:bodyPr/>
        <a:lstStyle/>
        <a:p>
          <a:endParaRPr lang="lt-LT"/>
        </a:p>
      </dgm:t>
    </dgm:pt>
    <dgm:pt modelId="{1659EBE4-CBE8-4E3B-AFE4-B3F494F48137}" type="sibTrans" cxnId="{BE35017E-9413-46D9-8B93-90006911AF1E}">
      <dgm:prSet/>
      <dgm:spPr/>
      <dgm:t>
        <a:bodyPr/>
        <a:lstStyle/>
        <a:p>
          <a:endParaRPr lang="lt-LT"/>
        </a:p>
      </dgm:t>
    </dgm:pt>
    <dgm:pt modelId="{DB3E9935-78B0-4D24-836E-B1A4ADB38642}">
      <dgm:prSet phldrT="[Text]" custT="1"/>
      <dgm:spPr>
        <a:solidFill>
          <a:srgbClr val="FFFFCC"/>
        </a:solidFill>
        <a:ln>
          <a:solidFill>
            <a:srgbClr val="FFFF00"/>
          </a:solidFill>
        </a:ln>
      </dgm:spPr>
      <dgm:t>
        <a:bodyPr/>
        <a:lstStyle/>
        <a:p>
          <a:r>
            <a:rPr lang="lt-LT" sz="1200" dirty="0"/>
            <a:t>Maisto įsisavinamumas</a:t>
          </a:r>
        </a:p>
      </dgm:t>
    </dgm:pt>
    <dgm:pt modelId="{64248611-AB8F-41DF-857F-EF9A9ACC87AB}" type="parTrans" cxnId="{2292D53E-9C95-4BBD-AC1B-5A8C07DC2DBE}">
      <dgm:prSet/>
      <dgm:spPr/>
      <dgm:t>
        <a:bodyPr/>
        <a:lstStyle/>
        <a:p>
          <a:endParaRPr lang="lt-LT"/>
        </a:p>
      </dgm:t>
    </dgm:pt>
    <dgm:pt modelId="{71BAFDDC-293B-45CB-9F40-76E20A7596F6}" type="sibTrans" cxnId="{2292D53E-9C95-4BBD-AC1B-5A8C07DC2DBE}">
      <dgm:prSet/>
      <dgm:spPr/>
      <dgm:t>
        <a:bodyPr/>
        <a:lstStyle/>
        <a:p>
          <a:endParaRPr lang="lt-LT"/>
        </a:p>
      </dgm:t>
    </dgm:pt>
    <dgm:pt modelId="{78597E22-CD1E-4913-B023-8407792BAC0B}">
      <dgm:prSet/>
      <dgm:spPr/>
      <dgm:t>
        <a:bodyPr/>
        <a:lstStyle/>
        <a:p>
          <a:r>
            <a:rPr lang="lt-LT" b="1"/>
            <a:t>Potencialus gyvūnų aplinkos dirgiklis</a:t>
          </a:r>
        </a:p>
      </dgm:t>
    </dgm:pt>
    <dgm:pt modelId="{22B0C887-13FD-45D0-8EF2-E568FE289ECA}" type="parTrans" cxnId="{C2D5CCEC-D0C2-43FB-A18E-B89ECDCB86F6}">
      <dgm:prSet/>
      <dgm:spPr/>
      <dgm:t>
        <a:bodyPr/>
        <a:lstStyle/>
        <a:p>
          <a:endParaRPr lang="lt-LT"/>
        </a:p>
      </dgm:t>
    </dgm:pt>
    <dgm:pt modelId="{4355A389-1638-445C-AF6A-6FC56F4F33B2}" type="sibTrans" cxnId="{C2D5CCEC-D0C2-43FB-A18E-B89ECDCB86F6}">
      <dgm:prSet/>
      <dgm:spPr/>
      <dgm:t>
        <a:bodyPr/>
        <a:lstStyle/>
        <a:p>
          <a:endParaRPr lang="lt-LT"/>
        </a:p>
      </dgm:t>
    </dgm:pt>
    <dgm:pt modelId="{CE23C623-1CB3-4993-841B-09C02D2FC79A}">
      <dgm:prSet custT="1"/>
      <dgm:spPr>
        <a:solidFill>
          <a:srgbClr val="FFFFCC"/>
        </a:solidFill>
        <a:ln>
          <a:solidFill>
            <a:srgbClr val="FFFF00"/>
          </a:solidFill>
        </a:ln>
      </dgm:spPr>
      <dgm:t>
        <a:bodyPr/>
        <a:lstStyle/>
        <a:p>
          <a:r>
            <a:rPr lang="lt-LT" sz="1200" dirty="0"/>
            <a:t>Gyvenamosios aplinkos sudėtinių dalių ir įvairovės (buveinės kokybės) sumažėjimas</a:t>
          </a:r>
        </a:p>
      </dgm:t>
    </dgm:pt>
    <dgm:pt modelId="{2B1A1318-DFA6-4310-B8DF-795A0A442E61}" type="parTrans" cxnId="{A052F515-5533-4B78-BE91-2EE1C59542CD}">
      <dgm:prSet/>
      <dgm:spPr/>
      <dgm:t>
        <a:bodyPr/>
        <a:lstStyle/>
        <a:p>
          <a:endParaRPr lang="lt-LT"/>
        </a:p>
      </dgm:t>
    </dgm:pt>
    <dgm:pt modelId="{6969F6B6-DF10-4448-B563-2195BD14DC3F}" type="sibTrans" cxnId="{A052F515-5533-4B78-BE91-2EE1C59542CD}">
      <dgm:prSet/>
      <dgm:spPr/>
      <dgm:t>
        <a:bodyPr/>
        <a:lstStyle/>
        <a:p>
          <a:endParaRPr lang="lt-LT"/>
        </a:p>
      </dgm:t>
    </dgm:pt>
    <dgm:pt modelId="{DDC2383C-16D3-40AE-8595-83CAAB5E013E}">
      <dgm:prSet custT="1"/>
      <dgm:spPr>
        <a:solidFill>
          <a:srgbClr val="FFFFCC"/>
        </a:solidFill>
        <a:ln>
          <a:solidFill>
            <a:srgbClr val="FFFF00"/>
          </a:solidFill>
        </a:ln>
      </dgm:spPr>
      <dgm:t>
        <a:bodyPr/>
        <a:lstStyle/>
        <a:p>
          <a:r>
            <a:rPr lang="lt-LT" sz="1200" dirty="0"/>
            <a:t>Klimato pokytis</a:t>
          </a:r>
        </a:p>
      </dgm:t>
    </dgm:pt>
    <dgm:pt modelId="{D3D51B50-DB00-47F1-B286-DD2B9A3F13A7}" type="parTrans" cxnId="{B38756C8-0F19-43E7-A69B-327C95A95980}">
      <dgm:prSet/>
      <dgm:spPr/>
      <dgm:t>
        <a:bodyPr/>
        <a:lstStyle/>
        <a:p>
          <a:endParaRPr lang="lt-LT"/>
        </a:p>
      </dgm:t>
    </dgm:pt>
    <dgm:pt modelId="{4DF318FC-0818-434F-BE6D-BE23A78794AD}" type="sibTrans" cxnId="{B38756C8-0F19-43E7-A69B-327C95A95980}">
      <dgm:prSet/>
      <dgm:spPr/>
      <dgm:t>
        <a:bodyPr/>
        <a:lstStyle/>
        <a:p>
          <a:endParaRPr lang="lt-LT"/>
        </a:p>
      </dgm:t>
    </dgm:pt>
    <dgm:pt modelId="{3D07BCBB-B8A6-4372-967C-C1001B000C54}">
      <dgm:prSet custT="1"/>
      <dgm:spPr>
        <a:solidFill>
          <a:srgbClr val="FFFFCC"/>
        </a:solidFill>
        <a:ln>
          <a:solidFill>
            <a:srgbClr val="FFFF00"/>
          </a:solidFill>
        </a:ln>
      </dgm:spPr>
      <dgm:t>
        <a:bodyPr/>
        <a:lstStyle/>
        <a:p>
          <a:r>
            <a:rPr lang="lt-LT" sz="1200" dirty="0"/>
            <a:t>Triukšmas</a:t>
          </a:r>
        </a:p>
      </dgm:t>
    </dgm:pt>
    <dgm:pt modelId="{11BB0860-149D-4FC2-B9AF-9CBECCC431A4}" type="parTrans" cxnId="{8E5A9363-DFE4-4C14-975B-84529D0022A3}">
      <dgm:prSet/>
      <dgm:spPr/>
      <dgm:t>
        <a:bodyPr/>
        <a:lstStyle/>
        <a:p>
          <a:endParaRPr lang="lt-LT"/>
        </a:p>
      </dgm:t>
    </dgm:pt>
    <dgm:pt modelId="{DD315D77-100A-4E28-AE3D-F581802F0892}" type="sibTrans" cxnId="{8E5A9363-DFE4-4C14-975B-84529D0022A3}">
      <dgm:prSet/>
      <dgm:spPr/>
      <dgm:t>
        <a:bodyPr/>
        <a:lstStyle/>
        <a:p>
          <a:endParaRPr lang="lt-LT"/>
        </a:p>
      </dgm:t>
    </dgm:pt>
    <dgm:pt modelId="{7F9D5C1E-B69F-439B-905E-B1C61E4A5910}">
      <dgm:prSet custT="1"/>
      <dgm:spPr>
        <a:solidFill>
          <a:srgbClr val="FFFFCC"/>
        </a:solidFill>
        <a:ln>
          <a:solidFill>
            <a:srgbClr val="FFFF00"/>
          </a:solidFill>
        </a:ln>
      </dgm:spPr>
      <dgm:t>
        <a:bodyPr/>
        <a:lstStyle/>
        <a:p>
          <a:r>
            <a:rPr lang="lt-LT" sz="1200" dirty="0"/>
            <a:t>Šviesa</a:t>
          </a:r>
        </a:p>
      </dgm:t>
    </dgm:pt>
    <dgm:pt modelId="{78FA4949-8E45-4B3A-8264-6F99ED8FC875}" type="parTrans" cxnId="{FFE2E5EB-108A-4507-B7BC-FA3D4E56D359}">
      <dgm:prSet/>
      <dgm:spPr/>
      <dgm:t>
        <a:bodyPr/>
        <a:lstStyle/>
        <a:p>
          <a:endParaRPr lang="lt-LT"/>
        </a:p>
      </dgm:t>
    </dgm:pt>
    <dgm:pt modelId="{4094C02B-2993-4079-818A-5F4D613A9C92}" type="sibTrans" cxnId="{FFE2E5EB-108A-4507-B7BC-FA3D4E56D359}">
      <dgm:prSet/>
      <dgm:spPr/>
      <dgm:t>
        <a:bodyPr/>
        <a:lstStyle/>
        <a:p>
          <a:endParaRPr lang="lt-LT"/>
        </a:p>
      </dgm:t>
    </dgm:pt>
    <dgm:pt modelId="{959C969F-AFAC-4B43-9BBB-5DC815107DA7}">
      <dgm:prSet custT="1"/>
      <dgm:spPr>
        <a:solidFill>
          <a:srgbClr val="FFFFCC"/>
        </a:solidFill>
        <a:ln>
          <a:solidFill>
            <a:srgbClr val="FFFF00"/>
          </a:solidFill>
        </a:ln>
      </dgm:spPr>
      <dgm:t>
        <a:bodyPr/>
        <a:lstStyle/>
        <a:p>
          <a:r>
            <a:rPr lang="lt-LT" sz="1200" dirty="0"/>
            <a:t>Tarša</a:t>
          </a:r>
        </a:p>
      </dgm:t>
    </dgm:pt>
    <dgm:pt modelId="{80CBFB41-F09A-41B3-AA3F-8AA564EDA58B}" type="parTrans" cxnId="{29798C42-1E4A-4D82-B57A-E1336839E3C7}">
      <dgm:prSet/>
      <dgm:spPr/>
      <dgm:t>
        <a:bodyPr/>
        <a:lstStyle/>
        <a:p>
          <a:endParaRPr lang="lt-LT"/>
        </a:p>
      </dgm:t>
    </dgm:pt>
    <dgm:pt modelId="{96905E6B-6985-44D7-B84F-6216B625C0BB}" type="sibTrans" cxnId="{29798C42-1E4A-4D82-B57A-E1336839E3C7}">
      <dgm:prSet/>
      <dgm:spPr/>
      <dgm:t>
        <a:bodyPr/>
        <a:lstStyle/>
        <a:p>
          <a:endParaRPr lang="lt-LT"/>
        </a:p>
      </dgm:t>
    </dgm:pt>
    <dgm:pt modelId="{625A65C5-3096-436A-A5C5-B3690C6630A9}">
      <dgm:prSet custT="1"/>
      <dgm:spPr>
        <a:solidFill>
          <a:srgbClr val="FFFFCC"/>
        </a:solidFill>
        <a:ln>
          <a:solidFill>
            <a:srgbClr val="FFFF00"/>
          </a:solidFill>
        </a:ln>
      </dgm:spPr>
      <dgm:t>
        <a:bodyPr/>
        <a:lstStyle/>
        <a:p>
          <a:r>
            <a:rPr lang="lt-LT" sz="1200" dirty="0"/>
            <a:t>Konkurentai</a:t>
          </a:r>
        </a:p>
      </dgm:t>
    </dgm:pt>
    <dgm:pt modelId="{F080D91B-0D16-4A3F-BBB8-06BE27CB8961}" type="parTrans" cxnId="{8936840D-746F-41CE-90A7-554F1B6DBD5E}">
      <dgm:prSet/>
      <dgm:spPr/>
      <dgm:t>
        <a:bodyPr/>
        <a:lstStyle/>
        <a:p>
          <a:endParaRPr lang="lt-LT"/>
        </a:p>
      </dgm:t>
    </dgm:pt>
    <dgm:pt modelId="{2AD071C4-A617-4B9A-8FB1-56B98FB09053}" type="sibTrans" cxnId="{8936840D-746F-41CE-90A7-554F1B6DBD5E}">
      <dgm:prSet/>
      <dgm:spPr/>
      <dgm:t>
        <a:bodyPr/>
        <a:lstStyle/>
        <a:p>
          <a:endParaRPr lang="lt-LT"/>
        </a:p>
      </dgm:t>
    </dgm:pt>
    <dgm:pt modelId="{8720E8D7-B1B7-4DD3-937F-B5C6783C1747}">
      <dgm:prSet custT="1"/>
      <dgm:spPr>
        <a:solidFill>
          <a:srgbClr val="FFFFCC"/>
        </a:solidFill>
        <a:ln>
          <a:solidFill>
            <a:srgbClr val="FFFF00"/>
          </a:solidFill>
        </a:ln>
      </dgm:spPr>
      <dgm:t>
        <a:bodyPr/>
        <a:lstStyle/>
        <a:p>
          <a:r>
            <a:rPr lang="lt-LT" sz="1200" dirty="0"/>
            <a:t>Plėšrūnai</a:t>
          </a:r>
        </a:p>
      </dgm:t>
    </dgm:pt>
    <dgm:pt modelId="{B5D7E38D-D974-4F21-B83F-DD48EBD59721}" type="parTrans" cxnId="{A7DE0776-22D3-48F1-A8C7-18B277844E8E}">
      <dgm:prSet/>
      <dgm:spPr/>
      <dgm:t>
        <a:bodyPr/>
        <a:lstStyle/>
        <a:p>
          <a:endParaRPr lang="lt-LT"/>
        </a:p>
      </dgm:t>
    </dgm:pt>
    <dgm:pt modelId="{40324D11-89DC-40D6-8CB9-2177BE0B8CB0}" type="sibTrans" cxnId="{A7DE0776-22D3-48F1-A8C7-18B277844E8E}">
      <dgm:prSet/>
      <dgm:spPr/>
      <dgm:t>
        <a:bodyPr/>
        <a:lstStyle/>
        <a:p>
          <a:endParaRPr lang="lt-LT"/>
        </a:p>
      </dgm:t>
    </dgm:pt>
    <dgm:pt modelId="{E8FD78FD-5A54-49F0-815F-2089A76E37F0}">
      <dgm:prSet custT="1"/>
      <dgm:spPr>
        <a:solidFill>
          <a:srgbClr val="FFFFCC"/>
        </a:solidFill>
        <a:ln>
          <a:solidFill>
            <a:srgbClr val="FFFF00"/>
          </a:solidFill>
        </a:ln>
      </dgm:spPr>
      <dgm:t>
        <a:bodyPr/>
        <a:lstStyle/>
        <a:p>
          <a:r>
            <a:rPr lang="lt-LT" sz="1200" dirty="0"/>
            <a:t>Populiacijos tankis</a:t>
          </a:r>
        </a:p>
      </dgm:t>
    </dgm:pt>
    <dgm:pt modelId="{B587029A-DCB9-43B4-9A6A-F0D83C42D6CB}" type="parTrans" cxnId="{78065EC0-2544-44F5-9CB1-98294E3F10F8}">
      <dgm:prSet/>
      <dgm:spPr/>
      <dgm:t>
        <a:bodyPr/>
        <a:lstStyle/>
        <a:p>
          <a:endParaRPr lang="lt-LT"/>
        </a:p>
      </dgm:t>
    </dgm:pt>
    <dgm:pt modelId="{8E1C60E0-1177-4B77-85DE-8A522E634B8B}" type="sibTrans" cxnId="{78065EC0-2544-44F5-9CB1-98294E3F10F8}">
      <dgm:prSet/>
      <dgm:spPr/>
      <dgm:t>
        <a:bodyPr/>
        <a:lstStyle/>
        <a:p>
          <a:endParaRPr lang="lt-LT"/>
        </a:p>
      </dgm:t>
    </dgm:pt>
    <dgm:pt modelId="{21DC3849-B093-450A-9326-27B56D2C64A5}">
      <dgm:prSet custT="1"/>
      <dgm:spPr>
        <a:solidFill>
          <a:srgbClr val="FFFFCC"/>
        </a:solidFill>
        <a:ln>
          <a:solidFill>
            <a:srgbClr val="FFFF00"/>
          </a:solidFill>
        </a:ln>
      </dgm:spPr>
      <dgm:t>
        <a:bodyPr/>
        <a:lstStyle/>
        <a:p>
          <a:r>
            <a:rPr lang="lt-LT" sz="1200" dirty="0"/>
            <a:t>Santykių nestabilumas</a:t>
          </a:r>
        </a:p>
      </dgm:t>
    </dgm:pt>
    <dgm:pt modelId="{FF821C1C-15A8-433A-BDA5-4E62050B7A3C}" type="parTrans" cxnId="{E3412F6A-1CA3-46D2-AAD9-C1DBF03F60A7}">
      <dgm:prSet/>
      <dgm:spPr/>
      <dgm:t>
        <a:bodyPr/>
        <a:lstStyle/>
        <a:p>
          <a:endParaRPr lang="lt-LT"/>
        </a:p>
      </dgm:t>
    </dgm:pt>
    <dgm:pt modelId="{8A6BFA00-5158-48F8-BFA6-61C1B3CF2247}" type="sibTrans" cxnId="{E3412F6A-1CA3-46D2-AAD9-C1DBF03F60A7}">
      <dgm:prSet/>
      <dgm:spPr/>
      <dgm:t>
        <a:bodyPr/>
        <a:lstStyle/>
        <a:p>
          <a:endParaRPr lang="lt-LT"/>
        </a:p>
      </dgm:t>
    </dgm:pt>
    <dgm:pt modelId="{54B69FB5-4046-4E32-9D5A-70D849225F8E}">
      <dgm:prSet custT="1"/>
      <dgm:spPr>
        <a:solidFill>
          <a:srgbClr val="FFFFCC"/>
        </a:solidFill>
        <a:ln>
          <a:solidFill>
            <a:srgbClr val="FFFF00"/>
          </a:solidFill>
        </a:ln>
      </dgm:spPr>
      <dgm:t>
        <a:bodyPr/>
        <a:lstStyle/>
        <a:p>
          <a:r>
            <a:rPr lang="lt-LT" sz="1200" dirty="0"/>
            <a:t>Nenatūrali grupės sudėtis</a:t>
          </a:r>
        </a:p>
      </dgm:t>
    </dgm:pt>
    <dgm:pt modelId="{C8510B7D-379D-4E0B-A7F2-DC3291FB091F}" type="parTrans" cxnId="{84157733-2C10-4548-8E04-658E08F9B981}">
      <dgm:prSet/>
      <dgm:spPr/>
      <dgm:t>
        <a:bodyPr/>
        <a:lstStyle/>
        <a:p>
          <a:endParaRPr lang="lt-LT"/>
        </a:p>
      </dgm:t>
    </dgm:pt>
    <dgm:pt modelId="{3E09A036-0DEF-4750-8836-7E506E749361}" type="sibTrans" cxnId="{84157733-2C10-4548-8E04-658E08F9B981}">
      <dgm:prSet/>
      <dgm:spPr/>
      <dgm:t>
        <a:bodyPr/>
        <a:lstStyle/>
        <a:p>
          <a:endParaRPr lang="lt-LT"/>
        </a:p>
      </dgm:t>
    </dgm:pt>
    <dgm:pt modelId="{0B7F4DF9-28BA-4E5A-B633-5016AFC498D7}">
      <dgm:prSet custT="1"/>
      <dgm:spPr>
        <a:solidFill>
          <a:srgbClr val="FFFFCC"/>
        </a:solidFill>
        <a:ln>
          <a:solidFill>
            <a:srgbClr val="FFFF00"/>
          </a:solidFill>
        </a:ln>
      </dgm:spPr>
      <dgm:t>
        <a:bodyPr/>
        <a:lstStyle/>
        <a:p>
          <a:r>
            <a:rPr lang="lt-LT" sz="1200" dirty="0"/>
            <a:t>Sąveika su įsibrovėliais</a:t>
          </a:r>
        </a:p>
      </dgm:t>
    </dgm:pt>
    <dgm:pt modelId="{B64EDF26-5E32-4011-BF2E-23D697AE96AF}" type="parTrans" cxnId="{0D16BDB9-E20F-4D45-8B90-B59159F5F59F}">
      <dgm:prSet/>
      <dgm:spPr/>
      <dgm:t>
        <a:bodyPr/>
        <a:lstStyle/>
        <a:p>
          <a:endParaRPr lang="lt-LT"/>
        </a:p>
      </dgm:t>
    </dgm:pt>
    <dgm:pt modelId="{68E8ED2D-EAF6-4A65-BF82-A9B4CE0E6834}" type="sibTrans" cxnId="{0D16BDB9-E20F-4D45-8B90-B59159F5F59F}">
      <dgm:prSet/>
      <dgm:spPr/>
      <dgm:t>
        <a:bodyPr/>
        <a:lstStyle/>
        <a:p>
          <a:endParaRPr lang="lt-LT"/>
        </a:p>
      </dgm:t>
    </dgm:pt>
    <dgm:pt modelId="{133FF2BE-235B-4015-A606-03410D322CC4}">
      <dgm:prSet custT="1"/>
      <dgm:spPr>
        <a:solidFill>
          <a:srgbClr val="FFFFCC"/>
        </a:solidFill>
        <a:ln>
          <a:solidFill>
            <a:srgbClr val="FFFF00"/>
          </a:solidFill>
        </a:ln>
      </dgm:spPr>
      <dgm:t>
        <a:bodyPr/>
        <a:lstStyle/>
        <a:p>
          <a:r>
            <a:rPr lang="lt-LT" sz="1200" dirty="0"/>
            <a:t>Palikuonių atsivedimas</a:t>
          </a:r>
        </a:p>
      </dgm:t>
    </dgm:pt>
    <dgm:pt modelId="{14BD31E4-5D5D-4A30-BB39-951E19CFDE35}" type="parTrans" cxnId="{17D49D27-F772-432E-8651-397204D32AD6}">
      <dgm:prSet/>
      <dgm:spPr/>
      <dgm:t>
        <a:bodyPr/>
        <a:lstStyle/>
        <a:p>
          <a:endParaRPr lang="lt-LT"/>
        </a:p>
      </dgm:t>
    </dgm:pt>
    <dgm:pt modelId="{56C75CC5-D91D-4E54-8DBC-E82D06874760}" type="sibTrans" cxnId="{17D49D27-F772-432E-8651-397204D32AD6}">
      <dgm:prSet/>
      <dgm:spPr/>
      <dgm:t>
        <a:bodyPr/>
        <a:lstStyle/>
        <a:p>
          <a:endParaRPr lang="lt-LT"/>
        </a:p>
      </dgm:t>
    </dgm:pt>
    <dgm:pt modelId="{90D933D6-ECB2-45C2-A7A0-486834681B4B}">
      <dgm:prSet custT="1"/>
      <dgm:spPr>
        <a:solidFill>
          <a:srgbClr val="FFFFCC"/>
        </a:solidFill>
        <a:ln>
          <a:solidFill>
            <a:srgbClr val="FFFF00"/>
          </a:solidFill>
        </a:ln>
      </dgm:spPr>
      <dgm:t>
        <a:bodyPr/>
        <a:lstStyle/>
        <a:p>
          <a:r>
            <a:rPr lang="lt-LT" sz="1200" dirty="0"/>
            <a:t>Transportavimas</a:t>
          </a:r>
        </a:p>
      </dgm:t>
    </dgm:pt>
    <dgm:pt modelId="{3FE939BB-08D9-46F4-9FB9-CB603AA78800}" type="parTrans" cxnId="{07824A3B-F6EB-40F8-97D9-79A5EBF59BA4}">
      <dgm:prSet/>
      <dgm:spPr/>
      <dgm:t>
        <a:bodyPr/>
        <a:lstStyle/>
        <a:p>
          <a:endParaRPr lang="lt-LT"/>
        </a:p>
      </dgm:t>
    </dgm:pt>
    <dgm:pt modelId="{1F22C4FE-3716-4BBB-8325-5D0AA7ADC924}" type="sibTrans" cxnId="{07824A3B-F6EB-40F8-97D9-79A5EBF59BA4}">
      <dgm:prSet/>
      <dgm:spPr/>
      <dgm:t>
        <a:bodyPr/>
        <a:lstStyle/>
        <a:p>
          <a:endParaRPr lang="lt-LT"/>
        </a:p>
      </dgm:t>
    </dgm:pt>
    <dgm:pt modelId="{FE89A3E9-EF81-4C90-9005-95977EF388FC}">
      <dgm:prSet custT="1"/>
      <dgm:spPr>
        <a:solidFill>
          <a:srgbClr val="FFFFCC"/>
        </a:solidFill>
        <a:ln>
          <a:solidFill>
            <a:srgbClr val="FFFF00"/>
          </a:solidFill>
        </a:ln>
      </dgm:spPr>
      <dgm:t>
        <a:bodyPr/>
        <a:lstStyle/>
        <a:p>
          <a:r>
            <a:rPr lang="lt-LT" sz="1400" dirty="0"/>
            <a:t>Dresūra, tvarkos palaikymas</a:t>
          </a:r>
        </a:p>
      </dgm:t>
    </dgm:pt>
    <dgm:pt modelId="{3DACC8B9-B4A2-405D-A0FF-E903BDBE988F}" type="parTrans" cxnId="{5CEEEA2A-676A-42A7-8896-77D061ADE63C}">
      <dgm:prSet/>
      <dgm:spPr/>
      <dgm:t>
        <a:bodyPr/>
        <a:lstStyle/>
        <a:p>
          <a:endParaRPr lang="lt-LT"/>
        </a:p>
      </dgm:t>
    </dgm:pt>
    <dgm:pt modelId="{A95505DB-B02D-4806-B881-AA56F8EB475A}" type="sibTrans" cxnId="{5CEEEA2A-676A-42A7-8896-77D061ADE63C}">
      <dgm:prSet/>
      <dgm:spPr/>
      <dgm:t>
        <a:bodyPr/>
        <a:lstStyle/>
        <a:p>
          <a:endParaRPr lang="lt-LT"/>
        </a:p>
      </dgm:t>
    </dgm:pt>
    <dgm:pt modelId="{118A6CF7-1D9E-47F5-8CB6-BED171A3A982}">
      <dgm:prSet phldrT="[Text]" custT="1"/>
      <dgm:spPr>
        <a:solidFill>
          <a:srgbClr val="FFFFCC"/>
        </a:solidFill>
        <a:ln>
          <a:solidFill>
            <a:srgbClr val="FFFF00"/>
          </a:solidFill>
        </a:ln>
      </dgm:spPr>
      <dgm:t>
        <a:bodyPr/>
        <a:lstStyle/>
        <a:p>
          <a:r>
            <a:rPr lang="lt-LT" sz="1200" dirty="0"/>
            <a:t>Populiacija</a:t>
          </a:r>
        </a:p>
      </dgm:t>
    </dgm:pt>
    <dgm:pt modelId="{A95A16F9-13D4-437E-8C3C-EEEA2D62E317}" type="parTrans" cxnId="{FD6B760B-7E04-4D74-B820-206B1A3CD0D2}">
      <dgm:prSet/>
      <dgm:spPr/>
      <dgm:t>
        <a:bodyPr/>
        <a:lstStyle/>
        <a:p>
          <a:endParaRPr lang="lt-LT"/>
        </a:p>
      </dgm:t>
    </dgm:pt>
    <dgm:pt modelId="{ECBBCDF6-596B-4C46-9C7A-B43C4CE40E23}" type="sibTrans" cxnId="{FD6B760B-7E04-4D74-B820-206B1A3CD0D2}">
      <dgm:prSet/>
      <dgm:spPr/>
      <dgm:t>
        <a:bodyPr/>
        <a:lstStyle/>
        <a:p>
          <a:endParaRPr lang="lt-LT"/>
        </a:p>
      </dgm:t>
    </dgm:pt>
    <dgm:pt modelId="{6F6AC474-0B5E-47CA-A69F-183EDD24D786}">
      <dgm:prSet phldrT="[Text]" custT="1"/>
      <dgm:spPr>
        <a:solidFill>
          <a:srgbClr val="FFFFCC"/>
        </a:solidFill>
        <a:ln>
          <a:solidFill>
            <a:srgbClr val="FFFF00"/>
          </a:solidFill>
        </a:ln>
      </dgm:spPr>
      <dgm:t>
        <a:bodyPr/>
        <a:lstStyle/>
        <a:p>
          <a:r>
            <a:rPr lang="lt-LT" sz="1200" dirty="0"/>
            <a:t>Sezoniškumas</a:t>
          </a:r>
        </a:p>
      </dgm:t>
    </dgm:pt>
    <dgm:pt modelId="{F31D4D79-976F-4E3A-A9E4-060FC8B08745}" type="parTrans" cxnId="{263A9DC6-8B8C-475A-BAC6-9BAC3E4A8AC1}">
      <dgm:prSet/>
      <dgm:spPr/>
      <dgm:t>
        <a:bodyPr/>
        <a:lstStyle/>
        <a:p>
          <a:endParaRPr lang="lt-LT"/>
        </a:p>
      </dgm:t>
    </dgm:pt>
    <dgm:pt modelId="{6E020D28-2B99-45B4-B72F-5E0B224B98ED}" type="sibTrans" cxnId="{263A9DC6-8B8C-475A-BAC6-9BAC3E4A8AC1}">
      <dgm:prSet/>
      <dgm:spPr/>
      <dgm:t>
        <a:bodyPr/>
        <a:lstStyle/>
        <a:p>
          <a:endParaRPr lang="lt-LT"/>
        </a:p>
      </dgm:t>
    </dgm:pt>
    <dgm:pt modelId="{1E499FEC-5F7F-4ACD-A553-EA7CDDC82FCE}">
      <dgm:prSet phldrT="[Text]" custT="1"/>
      <dgm:spPr>
        <a:solidFill>
          <a:srgbClr val="FFFFCC"/>
        </a:solidFill>
        <a:ln>
          <a:solidFill>
            <a:srgbClr val="FFFF00"/>
          </a:solidFill>
        </a:ln>
      </dgm:spPr>
      <dgm:t>
        <a:bodyPr/>
        <a:lstStyle/>
        <a:p>
          <a:r>
            <a:rPr lang="lt-LT" sz="1200" dirty="0"/>
            <a:t>Santykių sistema</a:t>
          </a:r>
        </a:p>
      </dgm:t>
    </dgm:pt>
    <dgm:pt modelId="{5DA3A6FD-D198-4375-B13B-3D0364AA515B}" type="parTrans" cxnId="{E018FE9F-C747-4D19-BF53-9A166F1E7A08}">
      <dgm:prSet/>
      <dgm:spPr/>
      <dgm:t>
        <a:bodyPr/>
        <a:lstStyle/>
        <a:p>
          <a:endParaRPr lang="lt-LT"/>
        </a:p>
      </dgm:t>
    </dgm:pt>
    <dgm:pt modelId="{405FD642-2E08-4C46-9D34-318FFC4CB5FA}" type="sibTrans" cxnId="{E018FE9F-C747-4D19-BF53-9A166F1E7A08}">
      <dgm:prSet/>
      <dgm:spPr/>
      <dgm:t>
        <a:bodyPr/>
        <a:lstStyle/>
        <a:p>
          <a:endParaRPr lang="lt-LT"/>
        </a:p>
      </dgm:t>
    </dgm:pt>
    <dgm:pt modelId="{97521D48-8C08-4056-8E13-756AC21FC966}">
      <dgm:prSet phldrT="[Text]" custT="1"/>
      <dgm:spPr>
        <a:solidFill>
          <a:srgbClr val="FFFFCC"/>
        </a:solidFill>
        <a:ln>
          <a:solidFill>
            <a:srgbClr val="FFFF00"/>
          </a:solidFill>
        </a:ln>
      </dgm:spPr>
      <dgm:t>
        <a:bodyPr/>
        <a:lstStyle/>
        <a:p>
          <a:r>
            <a:rPr lang="lt-LT" sz="1200" dirty="0"/>
            <a:t>Gyvenimo istorija</a:t>
          </a:r>
        </a:p>
      </dgm:t>
    </dgm:pt>
    <dgm:pt modelId="{5DA84427-AE98-4FAF-9D1E-B8D66B7F917D}" type="parTrans" cxnId="{899174B9-FA07-4032-BD3D-9125B6803A1F}">
      <dgm:prSet/>
      <dgm:spPr/>
      <dgm:t>
        <a:bodyPr/>
        <a:lstStyle/>
        <a:p>
          <a:endParaRPr lang="lt-LT"/>
        </a:p>
      </dgm:t>
    </dgm:pt>
    <dgm:pt modelId="{FDE66E2C-E42A-424C-B836-5BDC7A7B6628}" type="sibTrans" cxnId="{899174B9-FA07-4032-BD3D-9125B6803A1F}">
      <dgm:prSet/>
      <dgm:spPr/>
      <dgm:t>
        <a:bodyPr/>
        <a:lstStyle/>
        <a:p>
          <a:endParaRPr lang="lt-LT"/>
        </a:p>
      </dgm:t>
    </dgm:pt>
    <dgm:pt modelId="{479D34F9-B3B6-4337-A41A-172FCFA2B918}">
      <dgm:prSet phldrT="[Text]" custT="1"/>
      <dgm:spPr>
        <a:solidFill>
          <a:srgbClr val="FFFFCC"/>
        </a:solidFill>
        <a:ln>
          <a:solidFill>
            <a:srgbClr val="FFFF00"/>
          </a:solidFill>
        </a:ln>
      </dgm:spPr>
      <dgm:t>
        <a:bodyPr/>
        <a:lstStyle/>
        <a:p>
          <a:r>
            <a:rPr lang="lt-LT" sz="1200" dirty="0"/>
            <a:t>Lytis</a:t>
          </a:r>
        </a:p>
      </dgm:t>
    </dgm:pt>
    <dgm:pt modelId="{E151B627-A9B5-410A-9A24-8D4B5063C917}" type="parTrans" cxnId="{A3BAC192-CEC7-4A81-B34C-13391B50FB74}">
      <dgm:prSet/>
      <dgm:spPr/>
      <dgm:t>
        <a:bodyPr/>
        <a:lstStyle/>
        <a:p>
          <a:endParaRPr lang="lt-LT"/>
        </a:p>
      </dgm:t>
    </dgm:pt>
    <dgm:pt modelId="{D571C6C0-1F09-4503-8D7E-634F96C419B2}" type="sibTrans" cxnId="{A3BAC192-CEC7-4A81-B34C-13391B50FB74}">
      <dgm:prSet/>
      <dgm:spPr/>
      <dgm:t>
        <a:bodyPr/>
        <a:lstStyle/>
        <a:p>
          <a:endParaRPr lang="lt-LT"/>
        </a:p>
      </dgm:t>
    </dgm:pt>
    <dgm:pt modelId="{7AEE14FD-123D-449A-A3EF-9ECE1A4B664E}">
      <dgm:prSet phldrT="[Text]" custT="1"/>
      <dgm:spPr>
        <a:solidFill>
          <a:srgbClr val="FFFFCC"/>
        </a:solidFill>
        <a:ln>
          <a:solidFill>
            <a:srgbClr val="FFFF00"/>
          </a:solidFill>
        </a:ln>
      </dgm:spPr>
      <dgm:t>
        <a:bodyPr/>
        <a:lstStyle/>
        <a:p>
          <a:r>
            <a:rPr lang="lt-LT" sz="1200" dirty="0"/>
            <a:t>Individualybės tipas</a:t>
          </a:r>
        </a:p>
      </dgm:t>
    </dgm:pt>
    <dgm:pt modelId="{1EBEE409-1A81-4B91-AF29-15342553B6D8}" type="parTrans" cxnId="{F1FE07C6-9F51-40BD-8C02-E28EE92773B2}">
      <dgm:prSet/>
      <dgm:spPr/>
      <dgm:t>
        <a:bodyPr/>
        <a:lstStyle/>
        <a:p>
          <a:endParaRPr lang="lt-LT"/>
        </a:p>
      </dgm:t>
    </dgm:pt>
    <dgm:pt modelId="{4725A080-E497-46EC-B26A-DD7459CE51D0}" type="sibTrans" cxnId="{F1FE07C6-9F51-40BD-8C02-E28EE92773B2}">
      <dgm:prSet/>
      <dgm:spPr/>
      <dgm:t>
        <a:bodyPr/>
        <a:lstStyle/>
        <a:p>
          <a:endParaRPr lang="lt-LT"/>
        </a:p>
      </dgm:t>
    </dgm:pt>
    <dgm:pt modelId="{FBE37025-52E7-4EE3-88B8-1FB64353DA56}">
      <dgm:prSet phldrT="[Text]" custT="1"/>
      <dgm:spPr>
        <a:solidFill>
          <a:srgbClr val="FFFFCC"/>
        </a:solidFill>
        <a:ln>
          <a:solidFill>
            <a:srgbClr val="FFFF00"/>
          </a:solidFill>
        </a:ln>
      </dgm:spPr>
      <dgm:t>
        <a:bodyPr/>
        <a:lstStyle/>
        <a:p>
          <a:r>
            <a:rPr lang="lt-LT" sz="1200" dirty="0"/>
            <a:t>Amžius</a:t>
          </a:r>
        </a:p>
      </dgm:t>
    </dgm:pt>
    <dgm:pt modelId="{E3FE2FE1-5D9E-4FDF-AB4D-4D698BBD95C3}" type="parTrans" cxnId="{7225DCF3-D8B9-4D47-B913-69D37BDB68B4}">
      <dgm:prSet/>
      <dgm:spPr/>
      <dgm:t>
        <a:bodyPr/>
        <a:lstStyle/>
        <a:p>
          <a:endParaRPr lang="lt-LT"/>
        </a:p>
      </dgm:t>
    </dgm:pt>
    <dgm:pt modelId="{40AB38D9-E160-4C84-A039-29CC2D279D2D}" type="sibTrans" cxnId="{7225DCF3-D8B9-4D47-B913-69D37BDB68B4}">
      <dgm:prSet/>
      <dgm:spPr/>
      <dgm:t>
        <a:bodyPr/>
        <a:lstStyle/>
        <a:p>
          <a:endParaRPr lang="lt-LT"/>
        </a:p>
      </dgm:t>
    </dgm:pt>
    <dgm:pt modelId="{DDF2633B-4E46-498E-AF7F-6A90A25762AC}">
      <dgm:prSet phldrT="[Text]" custT="1"/>
      <dgm:spPr>
        <a:solidFill>
          <a:srgbClr val="FFFFCC"/>
        </a:solidFill>
        <a:ln>
          <a:solidFill>
            <a:srgbClr val="FFFF00"/>
          </a:solidFill>
        </a:ln>
      </dgm:spPr>
      <dgm:t>
        <a:bodyPr/>
        <a:lstStyle/>
        <a:p>
          <a:r>
            <a:rPr lang="lt-LT" sz="1200" dirty="0"/>
            <a:t>Kūno išsivystymas</a:t>
          </a:r>
        </a:p>
      </dgm:t>
    </dgm:pt>
    <dgm:pt modelId="{FB804E2D-DD9B-4702-A54A-841B352643B8}" type="parTrans" cxnId="{8C92C935-B4BA-459B-A8E1-E12FC780E047}">
      <dgm:prSet/>
      <dgm:spPr/>
      <dgm:t>
        <a:bodyPr/>
        <a:lstStyle/>
        <a:p>
          <a:endParaRPr lang="lt-LT"/>
        </a:p>
      </dgm:t>
    </dgm:pt>
    <dgm:pt modelId="{BA912EEB-275D-47E7-B48F-6966FE8E7D52}" type="sibTrans" cxnId="{8C92C935-B4BA-459B-A8E1-E12FC780E047}">
      <dgm:prSet/>
      <dgm:spPr/>
      <dgm:t>
        <a:bodyPr/>
        <a:lstStyle/>
        <a:p>
          <a:endParaRPr lang="lt-LT"/>
        </a:p>
      </dgm:t>
    </dgm:pt>
    <dgm:pt modelId="{931E90D5-0C93-488D-801B-FC4B2281C45F}">
      <dgm:prSet phldrT="[Text]" custT="1"/>
      <dgm:spPr>
        <a:solidFill>
          <a:srgbClr val="FFFFCC"/>
        </a:solidFill>
        <a:ln>
          <a:solidFill>
            <a:srgbClr val="FFFF00"/>
          </a:solidFill>
        </a:ln>
      </dgm:spPr>
      <dgm:t>
        <a:bodyPr/>
        <a:lstStyle/>
        <a:p>
          <a:r>
            <a:rPr lang="lt-LT" sz="1200" dirty="0"/>
            <a:t>Reprodukcinė būklė</a:t>
          </a:r>
        </a:p>
      </dgm:t>
    </dgm:pt>
    <dgm:pt modelId="{DC82B4C1-6BD0-43EC-8B70-292FAE582E40}" type="parTrans" cxnId="{2D263BCE-E10C-4E7C-8140-25E4C6077138}">
      <dgm:prSet/>
      <dgm:spPr/>
      <dgm:t>
        <a:bodyPr/>
        <a:lstStyle/>
        <a:p>
          <a:endParaRPr lang="lt-LT"/>
        </a:p>
      </dgm:t>
    </dgm:pt>
    <dgm:pt modelId="{9B9FCB00-268F-41E9-B635-8076E5FE1F55}" type="sibTrans" cxnId="{2D263BCE-E10C-4E7C-8140-25E4C6077138}">
      <dgm:prSet/>
      <dgm:spPr/>
      <dgm:t>
        <a:bodyPr/>
        <a:lstStyle/>
        <a:p>
          <a:endParaRPr lang="lt-LT"/>
        </a:p>
      </dgm:t>
    </dgm:pt>
    <dgm:pt modelId="{818B8574-EDE8-47ED-809D-20DA478AB71B}">
      <dgm:prSet phldrT="[Text]" custT="1"/>
      <dgm:spPr>
        <a:solidFill>
          <a:srgbClr val="FFFFCC"/>
        </a:solidFill>
        <a:ln>
          <a:solidFill>
            <a:srgbClr val="FFFF00"/>
          </a:solidFill>
        </a:ln>
      </dgm:spPr>
      <dgm:t>
        <a:bodyPr/>
        <a:lstStyle/>
        <a:p>
          <a:r>
            <a:rPr lang="lt-LT" sz="1200" dirty="0"/>
            <a:t>Elgsenos taktika</a:t>
          </a:r>
        </a:p>
      </dgm:t>
    </dgm:pt>
    <dgm:pt modelId="{F72477E8-FD7C-4C06-82E1-6A6344A49411}" type="parTrans" cxnId="{313E6D5E-04A2-44AB-8843-39E72B073E1A}">
      <dgm:prSet/>
      <dgm:spPr/>
      <dgm:t>
        <a:bodyPr/>
        <a:lstStyle/>
        <a:p>
          <a:endParaRPr lang="lt-LT"/>
        </a:p>
      </dgm:t>
    </dgm:pt>
    <dgm:pt modelId="{9CBCA0AA-1B88-47A0-BDEC-75F78A14FC33}" type="sibTrans" cxnId="{313E6D5E-04A2-44AB-8843-39E72B073E1A}">
      <dgm:prSet/>
      <dgm:spPr/>
      <dgm:t>
        <a:bodyPr/>
        <a:lstStyle/>
        <a:p>
          <a:endParaRPr lang="lt-LT"/>
        </a:p>
      </dgm:t>
    </dgm:pt>
    <dgm:pt modelId="{ECD14FD1-50D2-4C59-B8BD-1F37AE79CEA2}">
      <dgm:prSet phldrT="[Text]" custT="1"/>
      <dgm:spPr>
        <a:solidFill>
          <a:srgbClr val="FFFFCC"/>
        </a:solidFill>
        <a:ln>
          <a:solidFill>
            <a:srgbClr val="FFFF00"/>
          </a:solidFill>
        </a:ln>
      </dgm:spPr>
      <dgm:t>
        <a:bodyPr/>
        <a:lstStyle/>
        <a:p>
          <a:r>
            <a:rPr lang="lt-LT" sz="1200" dirty="0"/>
            <a:t>Santykių patirtis</a:t>
          </a:r>
        </a:p>
      </dgm:t>
    </dgm:pt>
    <dgm:pt modelId="{10A6CD82-D705-4791-971C-1B7F8C6C74BC}" type="parTrans" cxnId="{2BEF9B80-096F-4BF0-8C63-05CB5CCAB95E}">
      <dgm:prSet/>
      <dgm:spPr/>
      <dgm:t>
        <a:bodyPr/>
        <a:lstStyle/>
        <a:p>
          <a:endParaRPr lang="lt-LT"/>
        </a:p>
      </dgm:t>
    </dgm:pt>
    <dgm:pt modelId="{6C22B2DD-66A3-439F-A841-3411B35839F2}" type="sibTrans" cxnId="{2BEF9B80-096F-4BF0-8C63-05CB5CCAB95E}">
      <dgm:prSet/>
      <dgm:spPr/>
      <dgm:t>
        <a:bodyPr/>
        <a:lstStyle/>
        <a:p>
          <a:endParaRPr lang="lt-LT"/>
        </a:p>
      </dgm:t>
    </dgm:pt>
    <dgm:pt modelId="{B81E0E4D-0021-462E-90F4-FF546AA789A7}">
      <dgm:prSet phldrT="[Text]" custT="1"/>
      <dgm:spPr>
        <a:solidFill>
          <a:srgbClr val="FFFFCC"/>
        </a:solidFill>
        <a:ln>
          <a:solidFill>
            <a:srgbClr val="FFFF00"/>
          </a:solidFill>
        </a:ln>
      </dgm:spPr>
      <dgm:t>
        <a:bodyPr/>
        <a:lstStyle/>
        <a:p>
          <a:r>
            <a:rPr lang="lt-LT" sz="1200" dirty="0"/>
            <a:t>Santykių tvirtumas</a:t>
          </a:r>
        </a:p>
      </dgm:t>
    </dgm:pt>
    <dgm:pt modelId="{C6F4B5F5-95DB-43E5-9698-08A7CF8C57FE}" type="parTrans" cxnId="{6869D9CA-5092-40A8-A466-C88E4BB41DF0}">
      <dgm:prSet/>
      <dgm:spPr/>
      <dgm:t>
        <a:bodyPr/>
        <a:lstStyle/>
        <a:p>
          <a:endParaRPr lang="lt-LT"/>
        </a:p>
      </dgm:t>
    </dgm:pt>
    <dgm:pt modelId="{A6D36A0F-9DA0-4401-91CB-4348E7A3436F}" type="sibTrans" cxnId="{6869D9CA-5092-40A8-A466-C88E4BB41DF0}">
      <dgm:prSet/>
      <dgm:spPr/>
      <dgm:t>
        <a:bodyPr/>
        <a:lstStyle/>
        <a:p>
          <a:endParaRPr lang="lt-LT"/>
        </a:p>
      </dgm:t>
    </dgm:pt>
    <dgm:pt modelId="{B4119E93-4C25-4664-B970-A6590236038F}">
      <dgm:prSet phldrT="[Text]" custT="1"/>
      <dgm:spPr>
        <a:solidFill>
          <a:srgbClr val="FFFFCC"/>
        </a:solidFill>
        <a:ln>
          <a:solidFill>
            <a:srgbClr val="FFFF00"/>
          </a:solidFill>
        </a:ln>
      </dgm:spPr>
      <dgm:t>
        <a:bodyPr/>
        <a:lstStyle/>
        <a:p>
          <a:r>
            <a:rPr lang="lt-LT" sz="1200" dirty="0"/>
            <a:t>Santykių ugdymas</a:t>
          </a:r>
        </a:p>
      </dgm:t>
    </dgm:pt>
    <dgm:pt modelId="{2DCC2D1D-F62E-4BD7-96B9-64E491CDC253}" type="parTrans" cxnId="{ED95517C-A53D-4743-92FC-44C0B602F434}">
      <dgm:prSet/>
      <dgm:spPr/>
      <dgm:t>
        <a:bodyPr/>
        <a:lstStyle/>
        <a:p>
          <a:endParaRPr lang="lt-LT"/>
        </a:p>
      </dgm:t>
    </dgm:pt>
    <dgm:pt modelId="{130BCE21-52E3-4E4F-9EBC-A9C8724D1766}" type="sibTrans" cxnId="{ED95517C-A53D-4743-92FC-44C0B602F434}">
      <dgm:prSet/>
      <dgm:spPr/>
      <dgm:t>
        <a:bodyPr/>
        <a:lstStyle/>
        <a:p>
          <a:endParaRPr lang="lt-LT"/>
        </a:p>
      </dgm:t>
    </dgm:pt>
    <dgm:pt modelId="{11DBF054-E928-4372-8550-9A0AE5158563}">
      <dgm:prSet phldrT="[Text]" custT="1"/>
      <dgm:spPr>
        <a:solidFill>
          <a:srgbClr val="FFFFCC"/>
        </a:solidFill>
        <a:ln>
          <a:solidFill>
            <a:srgbClr val="FFFF00"/>
          </a:solidFill>
        </a:ln>
      </dgm:spPr>
      <dgm:t>
        <a:bodyPr/>
        <a:lstStyle/>
        <a:p>
          <a:r>
            <a:rPr lang="lt-LT" sz="1200" dirty="0"/>
            <a:t>Fiziologinė reakcija (energijos ir resursų paskirstymas)</a:t>
          </a:r>
        </a:p>
      </dgm:t>
    </dgm:pt>
    <dgm:pt modelId="{2AA1EC2A-5F4C-4F52-8383-1E2ABB94A2BC}" type="parTrans" cxnId="{9904CB3A-AAE2-49AB-9314-5E57649D784A}">
      <dgm:prSet/>
      <dgm:spPr/>
      <dgm:t>
        <a:bodyPr/>
        <a:lstStyle/>
        <a:p>
          <a:endParaRPr lang="lt-LT"/>
        </a:p>
      </dgm:t>
    </dgm:pt>
    <dgm:pt modelId="{E1523286-6C8F-457D-AE30-AE5056300132}" type="sibTrans" cxnId="{9904CB3A-AAE2-49AB-9314-5E57649D784A}">
      <dgm:prSet/>
      <dgm:spPr/>
      <dgm:t>
        <a:bodyPr/>
        <a:lstStyle/>
        <a:p>
          <a:endParaRPr lang="lt-LT"/>
        </a:p>
      </dgm:t>
    </dgm:pt>
    <dgm:pt modelId="{F096A25C-14BE-4292-84F0-98C20A1AF41A}">
      <dgm:prSet phldrT="[Text]" custT="1"/>
      <dgm:spPr>
        <a:solidFill>
          <a:srgbClr val="FFFFCC"/>
        </a:solidFill>
        <a:ln>
          <a:solidFill>
            <a:srgbClr val="FFFF00"/>
          </a:solidFill>
        </a:ln>
      </dgm:spPr>
      <dgm:t>
        <a:bodyPr/>
        <a:lstStyle/>
        <a:p>
          <a:r>
            <a:rPr lang="lt-LT" sz="1200" dirty="0"/>
            <a:t>Elgsenos reakcija (judesiai, tarpusavio bendravimas)</a:t>
          </a:r>
        </a:p>
      </dgm:t>
    </dgm:pt>
    <dgm:pt modelId="{2817D54C-373D-4A7E-AA62-A2C81013F31C}" type="parTrans" cxnId="{F5D6B7FE-FE2F-49CB-9BA0-4CF2EF7E345D}">
      <dgm:prSet/>
      <dgm:spPr/>
      <dgm:t>
        <a:bodyPr/>
        <a:lstStyle/>
        <a:p>
          <a:endParaRPr lang="lt-LT"/>
        </a:p>
      </dgm:t>
    </dgm:pt>
    <dgm:pt modelId="{4D0D3CFA-180B-467F-802E-D1C8A5B3B52C}" type="sibTrans" cxnId="{F5D6B7FE-FE2F-49CB-9BA0-4CF2EF7E345D}">
      <dgm:prSet/>
      <dgm:spPr/>
      <dgm:t>
        <a:bodyPr/>
        <a:lstStyle/>
        <a:p>
          <a:endParaRPr lang="lt-LT"/>
        </a:p>
      </dgm:t>
    </dgm:pt>
    <dgm:pt modelId="{51169079-06D4-4F3A-B03D-9B1802E39645}">
      <dgm:prSet phldrT="[Text]" custT="1"/>
      <dgm:spPr>
        <a:solidFill>
          <a:srgbClr val="FFFFCC"/>
        </a:solidFill>
        <a:ln>
          <a:solidFill>
            <a:srgbClr val="FFFF00"/>
          </a:solidFill>
        </a:ln>
      </dgm:spPr>
      <dgm:t>
        <a:bodyPr/>
        <a:lstStyle/>
        <a:p>
          <a:r>
            <a:rPr lang="lt-LT" sz="1200" dirty="0"/>
            <a:t>Imuninė reakcija</a:t>
          </a:r>
        </a:p>
      </dgm:t>
    </dgm:pt>
    <dgm:pt modelId="{D8F182A9-9D9A-4EEB-B9C7-B93E76EA008F}" type="parTrans" cxnId="{333B40A2-17E8-49C5-A359-AC1A3270D3BC}">
      <dgm:prSet/>
      <dgm:spPr/>
      <dgm:t>
        <a:bodyPr/>
        <a:lstStyle/>
        <a:p>
          <a:endParaRPr lang="lt-LT"/>
        </a:p>
      </dgm:t>
    </dgm:pt>
    <dgm:pt modelId="{B988D107-146B-4CBE-97D1-E5D251188959}" type="sibTrans" cxnId="{333B40A2-17E8-49C5-A359-AC1A3270D3BC}">
      <dgm:prSet/>
      <dgm:spPr/>
      <dgm:t>
        <a:bodyPr/>
        <a:lstStyle/>
        <a:p>
          <a:endParaRPr lang="lt-LT"/>
        </a:p>
      </dgm:t>
    </dgm:pt>
    <dgm:pt modelId="{FEFEAA95-2AC5-479D-83CA-A5552F4D8A65}">
      <dgm:prSet phldrT="[Text]" custT="1"/>
      <dgm:spPr>
        <a:solidFill>
          <a:srgbClr val="FFFFCC"/>
        </a:solidFill>
        <a:ln>
          <a:solidFill>
            <a:srgbClr val="FFFF00"/>
          </a:solidFill>
        </a:ln>
      </dgm:spPr>
      <dgm:t>
        <a:bodyPr/>
        <a:lstStyle/>
        <a:p>
          <a:r>
            <a:rPr lang="lt-LT" sz="1200" dirty="0"/>
            <a:t>Gyvybingumas</a:t>
          </a:r>
        </a:p>
      </dgm:t>
    </dgm:pt>
    <dgm:pt modelId="{C173834E-84BF-4874-8C6D-A1356A73F5DA}" type="parTrans" cxnId="{FC68D284-0568-4028-B413-D6A1BEDD7AF9}">
      <dgm:prSet/>
      <dgm:spPr/>
      <dgm:t>
        <a:bodyPr/>
        <a:lstStyle/>
        <a:p>
          <a:endParaRPr lang="lt-LT"/>
        </a:p>
      </dgm:t>
    </dgm:pt>
    <dgm:pt modelId="{B685C022-79CD-46FD-BF32-63688463DD55}" type="sibTrans" cxnId="{FC68D284-0568-4028-B413-D6A1BEDD7AF9}">
      <dgm:prSet/>
      <dgm:spPr/>
      <dgm:t>
        <a:bodyPr/>
        <a:lstStyle/>
        <a:p>
          <a:endParaRPr lang="lt-LT"/>
        </a:p>
      </dgm:t>
    </dgm:pt>
    <dgm:pt modelId="{E2FFAD0C-EDC5-4DC1-B64A-3BF9DAA5972C}">
      <dgm:prSet phldrT="[Text]" custT="1"/>
      <dgm:spPr>
        <a:solidFill>
          <a:srgbClr val="FFFFCC"/>
        </a:solidFill>
        <a:ln>
          <a:solidFill>
            <a:srgbClr val="FFFF00"/>
          </a:solidFill>
        </a:ln>
      </dgm:spPr>
      <dgm:t>
        <a:bodyPr/>
        <a:lstStyle/>
        <a:p>
          <a:r>
            <a:rPr lang="lt-LT" sz="1200" dirty="0"/>
            <a:t>Vaisingumas</a:t>
          </a:r>
        </a:p>
      </dgm:t>
    </dgm:pt>
    <dgm:pt modelId="{8837C22D-5F3D-4B1C-BC6D-A9DEBA242FBD}" type="parTrans" cxnId="{9A90A569-3E7D-4EA3-B11C-FC70874EF76F}">
      <dgm:prSet/>
      <dgm:spPr/>
      <dgm:t>
        <a:bodyPr/>
        <a:lstStyle/>
        <a:p>
          <a:endParaRPr lang="lt-LT"/>
        </a:p>
      </dgm:t>
    </dgm:pt>
    <dgm:pt modelId="{A8F0536E-9524-4043-9360-323F183673AF}" type="sibTrans" cxnId="{9A90A569-3E7D-4EA3-B11C-FC70874EF76F}">
      <dgm:prSet/>
      <dgm:spPr/>
      <dgm:t>
        <a:bodyPr/>
        <a:lstStyle/>
        <a:p>
          <a:endParaRPr lang="lt-LT"/>
        </a:p>
      </dgm:t>
    </dgm:pt>
    <dgm:pt modelId="{71E3FC43-6466-4D86-ADA5-FBE04623D85B}">
      <dgm:prSet phldrT="[Text]" custT="1"/>
      <dgm:spPr>
        <a:solidFill>
          <a:srgbClr val="FFFFCC"/>
        </a:solidFill>
        <a:ln>
          <a:solidFill>
            <a:srgbClr val="FFFF00"/>
          </a:solidFill>
        </a:ln>
      </dgm:spPr>
      <dgm:t>
        <a:bodyPr/>
        <a:lstStyle/>
        <a:p>
          <a:r>
            <a:rPr lang="lt-LT" sz="1200" dirty="0"/>
            <a:t>Vaisos slopinimas</a:t>
          </a:r>
        </a:p>
      </dgm:t>
    </dgm:pt>
    <dgm:pt modelId="{2F070F88-A2AD-4F23-AD70-092582A165D3}" type="parTrans" cxnId="{625402A5-32B3-4155-B623-8EEAD72BD0C6}">
      <dgm:prSet/>
      <dgm:spPr/>
      <dgm:t>
        <a:bodyPr/>
        <a:lstStyle/>
        <a:p>
          <a:endParaRPr lang="lt-LT"/>
        </a:p>
      </dgm:t>
    </dgm:pt>
    <dgm:pt modelId="{258ED4C5-E544-4E55-81B2-EB434641D3E1}" type="sibTrans" cxnId="{625402A5-32B3-4155-B623-8EEAD72BD0C6}">
      <dgm:prSet/>
      <dgm:spPr/>
      <dgm:t>
        <a:bodyPr/>
        <a:lstStyle/>
        <a:p>
          <a:endParaRPr lang="lt-LT"/>
        </a:p>
      </dgm:t>
    </dgm:pt>
    <dgm:pt modelId="{A358F3CE-56C6-4729-8B5E-167A98523078}">
      <dgm:prSet phldrT="[Text]" custT="1"/>
      <dgm:spPr>
        <a:solidFill>
          <a:srgbClr val="FFFFCC"/>
        </a:solidFill>
        <a:ln>
          <a:solidFill>
            <a:srgbClr val="FFFF00"/>
          </a:solidFill>
        </a:ln>
      </dgm:spPr>
      <dgm:t>
        <a:bodyPr/>
        <a:lstStyle/>
        <a:p>
          <a:r>
            <a:rPr lang="lt-LT" sz="1200" dirty="0"/>
            <a:t>Imuninis atsparumas</a:t>
          </a:r>
        </a:p>
      </dgm:t>
    </dgm:pt>
    <dgm:pt modelId="{95B15186-CAE1-48FF-BDEE-4FDC7F3591F1}" type="parTrans" cxnId="{28E8FB83-7A79-4B90-8F44-37CA43C08F17}">
      <dgm:prSet/>
      <dgm:spPr/>
      <dgm:t>
        <a:bodyPr/>
        <a:lstStyle/>
        <a:p>
          <a:endParaRPr lang="lt-LT"/>
        </a:p>
      </dgm:t>
    </dgm:pt>
    <dgm:pt modelId="{525D5404-F090-4D2C-9B92-3D0E8D30A47B}" type="sibTrans" cxnId="{28E8FB83-7A79-4B90-8F44-37CA43C08F17}">
      <dgm:prSet/>
      <dgm:spPr/>
      <dgm:t>
        <a:bodyPr/>
        <a:lstStyle/>
        <a:p>
          <a:endParaRPr lang="lt-LT"/>
        </a:p>
      </dgm:t>
    </dgm:pt>
    <dgm:pt modelId="{AE78302B-3463-48F2-8190-686A4610D3DD}">
      <dgm:prSet/>
      <dgm:spPr>
        <a:noFill/>
      </dgm:spPr>
      <dgm:t>
        <a:bodyPr/>
        <a:lstStyle/>
        <a:p>
          <a:endParaRPr lang="lt-LT"/>
        </a:p>
      </dgm:t>
    </dgm:pt>
    <dgm:pt modelId="{5201B38A-1FFD-47DD-9663-6951B300B898}" type="parTrans" cxnId="{46963A14-1C74-423A-A9DD-04AB5A3549EB}">
      <dgm:prSet/>
      <dgm:spPr/>
      <dgm:t>
        <a:bodyPr/>
        <a:lstStyle/>
        <a:p>
          <a:endParaRPr lang="lt-LT"/>
        </a:p>
      </dgm:t>
    </dgm:pt>
    <dgm:pt modelId="{3D54430C-0A2F-499F-BDF7-DD22F14811CD}" type="sibTrans" cxnId="{46963A14-1C74-423A-A9DD-04AB5A3549EB}">
      <dgm:prSet/>
      <dgm:spPr/>
      <dgm:t>
        <a:bodyPr/>
        <a:lstStyle/>
        <a:p>
          <a:endParaRPr lang="lt-LT"/>
        </a:p>
      </dgm:t>
    </dgm:pt>
    <dgm:pt modelId="{09ECC41F-23EA-4D6C-B8BC-0FFAA4DDEA1A}" type="pres">
      <dgm:prSet presAssocID="{8FC6FB74-9ED5-42DC-95FD-9CC399576A32}" presName="theList" presStyleCnt="0">
        <dgm:presLayoutVars>
          <dgm:dir/>
          <dgm:animLvl val="lvl"/>
          <dgm:resizeHandles val="exact"/>
        </dgm:presLayoutVars>
      </dgm:prSet>
      <dgm:spPr/>
    </dgm:pt>
    <dgm:pt modelId="{4B9C295D-427C-424D-B5D3-3F2DDF2C6F59}" type="pres">
      <dgm:prSet presAssocID="{78597E22-CD1E-4913-B023-8407792BAC0B}" presName="compNode" presStyleCnt="0"/>
      <dgm:spPr/>
    </dgm:pt>
    <dgm:pt modelId="{2E85D65D-30EA-4D8E-9A2B-E095221B3924}" type="pres">
      <dgm:prSet presAssocID="{78597E22-CD1E-4913-B023-8407792BAC0B}" presName="aNode" presStyleLbl="bgShp" presStyleIdx="0" presStyleCnt="5" custScaleX="219902" custScaleY="91530" custLinFactNeighborX="8773" custLinFactNeighborY="1007"/>
      <dgm:spPr/>
    </dgm:pt>
    <dgm:pt modelId="{5BE5FCEF-45C6-4AB5-AE3C-29F348612CC2}" type="pres">
      <dgm:prSet presAssocID="{78597E22-CD1E-4913-B023-8407792BAC0B}" presName="textNode" presStyleLbl="bgShp" presStyleIdx="0" presStyleCnt="5"/>
      <dgm:spPr/>
    </dgm:pt>
    <dgm:pt modelId="{604C2CE6-C9F9-4AF7-B79C-B690CD335AA8}" type="pres">
      <dgm:prSet presAssocID="{78597E22-CD1E-4913-B023-8407792BAC0B}" presName="compChildNode" presStyleCnt="0"/>
      <dgm:spPr/>
    </dgm:pt>
    <dgm:pt modelId="{F055CAFD-F1B5-49BD-8CAD-D7FCF24DE8AE}" type="pres">
      <dgm:prSet presAssocID="{78597E22-CD1E-4913-B023-8407792BAC0B}" presName="theInnerList" presStyleCnt="0"/>
      <dgm:spPr/>
    </dgm:pt>
    <dgm:pt modelId="{263F5FE6-C856-4AEF-BBD6-7B234484455B}" type="pres">
      <dgm:prSet presAssocID="{CE23C623-1CB3-4993-841B-09C02D2FC79A}" presName="childNode" presStyleLbl="node1" presStyleIdx="0" presStyleCnt="39" custScaleX="250742" custScaleY="304643" custLinFactNeighborX="10385" custLinFactNeighborY="4985">
        <dgm:presLayoutVars>
          <dgm:bulletEnabled val="1"/>
        </dgm:presLayoutVars>
      </dgm:prSet>
      <dgm:spPr/>
    </dgm:pt>
    <dgm:pt modelId="{864C85E4-C609-4BA6-963F-955F870D2D2E}" type="pres">
      <dgm:prSet presAssocID="{CE23C623-1CB3-4993-841B-09C02D2FC79A}" presName="aSpace2" presStyleCnt="0"/>
      <dgm:spPr/>
    </dgm:pt>
    <dgm:pt modelId="{B821714C-C2F7-4E24-93F1-6F1CA15CDA69}" type="pres">
      <dgm:prSet presAssocID="{DDC2383C-16D3-40AE-8595-83CAAB5E013E}" presName="childNode" presStyleLbl="node1" presStyleIdx="1" presStyleCnt="39" custScaleX="250742" custLinFactNeighborX="10385" custLinFactNeighborY="17639">
        <dgm:presLayoutVars>
          <dgm:bulletEnabled val="1"/>
        </dgm:presLayoutVars>
      </dgm:prSet>
      <dgm:spPr/>
    </dgm:pt>
    <dgm:pt modelId="{1C471E6E-7656-489A-ADE1-25753447FC23}" type="pres">
      <dgm:prSet presAssocID="{DDC2383C-16D3-40AE-8595-83CAAB5E013E}" presName="aSpace2" presStyleCnt="0"/>
      <dgm:spPr/>
    </dgm:pt>
    <dgm:pt modelId="{930B01D6-F00C-40EF-87CD-2BE633A1649D}" type="pres">
      <dgm:prSet presAssocID="{3D07BCBB-B8A6-4372-967C-C1001B000C54}" presName="childNode" presStyleLbl="node1" presStyleIdx="2" presStyleCnt="39" custScaleX="250742" custLinFactNeighborX="10385" custLinFactNeighborY="17639">
        <dgm:presLayoutVars>
          <dgm:bulletEnabled val="1"/>
        </dgm:presLayoutVars>
      </dgm:prSet>
      <dgm:spPr/>
    </dgm:pt>
    <dgm:pt modelId="{885466DB-8773-469B-91E2-777841F415E9}" type="pres">
      <dgm:prSet presAssocID="{3D07BCBB-B8A6-4372-967C-C1001B000C54}" presName="aSpace2" presStyleCnt="0"/>
      <dgm:spPr/>
    </dgm:pt>
    <dgm:pt modelId="{463B748B-2F7F-4D6E-B931-2D67C1402F67}" type="pres">
      <dgm:prSet presAssocID="{7F9D5C1E-B69F-439B-905E-B1C61E4A5910}" presName="childNode" presStyleLbl="node1" presStyleIdx="3" presStyleCnt="39" custScaleX="250742" custLinFactNeighborX="10385" custLinFactNeighborY="17639">
        <dgm:presLayoutVars>
          <dgm:bulletEnabled val="1"/>
        </dgm:presLayoutVars>
      </dgm:prSet>
      <dgm:spPr/>
    </dgm:pt>
    <dgm:pt modelId="{BAD818CF-7820-42E6-AD90-9EBAA1798293}" type="pres">
      <dgm:prSet presAssocID="{7F9D5C1E-B69F-439B-905E-B1C61E4A5910}" presName="aSpace2" presStyleCnt="0"/>
      <dgm:spPr/>
    </dgm:pt>
    <dgm:pt modelId="{79A29489-B417-404D-AB58-55CAAAD1AC1A}" type="pres">
      <dgm:prSet presAssocID="{959C969F-AFAC-4B43-9BBB-5DC815107DA7}" presName="childNode" presStyleLbl="node1" presStyleIdx="4" presStyleCnt="39" custScaleX="250742" custLinFactNeighborX="10385" custLinFactNeighborY="17639">
        <dgm:presLayoutVars>
          <dgm:bulletEnabled val="1"/>
        </dgm:presLayoutVars>
      </dgm:prSet>
      <dgm:spPr/>
    </dgm:pt>
    <dgm:pt modelId="{5D0DD2E0-71F6-4D88-A3FC-524859B72F32}" type="pres">
      <dgm:prSet presAssocID="{959C969F-AFAC-4B43-9BBB-5DC815107DA7}" presName="aSpace2" presStyleCnt="0"/>
      <dgm:spPr/>
    </dgm:pt>
    <dgm:pt modelId="{D6147051-3FE1-413F-B05F-021A8CDB0F34}" type="pres">
      <dgm:prSet presAssocID="{625A65C5-3096-436A-A5C5-B3690C6630A9}" presName="childNode" presStyleLbl="node1" presStyleIdx="5" presStyleCnt="39" custScaleX="250742" custLinFactNeighborX="10385" custLinFactNeighborY="17639">
        <dgm:presLayoutVars>
          <dgm:bulletEnabled val="1"/>
        </dgm:presLayoutVars>
      </dgm:prSet>
      <dgm:spPr/>
    </dgm:pt>
    <dgm:pt modelId="{D2015BC5-E229-4D9A-8021-65756CEC2199}" type="pres">
      <dgm:prSet presAssocID="{625A65C5-3096-436A-A5C5-B3690C6630A9}" presName="aSpace2" presStyleCnt="0"/>
      <dgm:spPr/>
    </dgm:pt>
    <dgm:pt modelId="{CA242BD1-826D-4405-A4BF-795C56AB112A}" type="pres">
      <dgm:prSet presAssocID="{8720E8D7-B1B7-4DD3-937F-B5C6783C1747}" presName="childNode" presStyleLbl="node1" presStyleIdx="6" presStyleCnt="39" custScaleX="250742" custLinFactNeighborX="10385" custLinFactNeighborY="17639">
        <dgm:presLayoutVars>
          <dgm:bulletEnabled val="1"/>
        </dgm:presLayoutVars>
      </dgm:prSet>
      <dgm:spPr/>
    </dgm:pt>
    <dgm:pt modelId="{A1AFBCAE-8C36-4672-A3B5-D0C3A7F44AEE}" type="pres">
      <dgm:prSet presAssocID="{8720E8D7-B1B7-4DD3-937F-B5C6783C1747}" presName="aSpace2" presStyleCnt="0"/>
      <dgm:spPr/>
    </dgm:pt>
    <dgm:pt modelId="{4A14AFB8-C18E-40AA-8F96-5A5AEE5141DB}" type="pres">
      <dgm:prSet presAssocID="{E8FD78FD-5A54-49F0-815F-2089A76E37F0}" presName="childNode" presStyleLbl="node1" presStyleIdx="7" presStyleCnt="39" custScaleX="250742" custLinFactNeighborX="10385" custLinFactNeighborY="17639">
        <dgm:presLayoutVars>
          <dgm:bulletEnabled val="1"/>
        </dgm:presLayoutVars>
      </dgm:prSet>
      <dgm:spPr/>
    </dgm:pt>
    <dgm:pt modelId="{1AC81A47-E4E4-465A-A645-8D70C360C3C5}" type="pres">
      <dgm:prSet presAssocID="{E8FD78FD-5A54-49F0-815F-2089A76E37F0}" presName="aSpace2" presStyleCnt="0"/>
      <dgm:spPr/>
    </dgm:pt>
    <dgm:pt modelId="{6EE4DBFE-51FE-4472-B966-63DBBE0164BE}" type="pres">
      <dgm:prSet presAssocID="{21DC3849-B093-450A-9326-27B56D2C64A5}" presName="childNode" presStyleLbl="node1" presStyleIdx="8" presStyleCnt="39" custScaleX="250742" custLinFactNeighborX="10385" custLinFactNeighborY="17639">
        <dgm:presLayoutVars>
          <dgm:bulletEnabled val="1"/>
        </dgm:presLayoutVars>
      </dgm:prSet>
      <dgm:spPr/>
    </dgm:pt>
    <dgm:pt modelId="{84FC7600-B79D-4184-ADEB-4C4358B18D66}" type="pres">
      <dgm:prSet presAssocID="{21DC3849-B093-450A-9326-27B56D2C64A5}" presName="aSpace2" presStyleCnt="0"/>
      <dgm:spPr/>
    </dgm:pt>
    <dgm:pt modelId="{D6EF6592-A73E-4684-83CD-997A0BA41A8C}" type="pres">
      <dgm:prSet presAssocID="{54B69FB5-4046-4E32-9D5A-70D849225F8E}" presName="childNode" presStyleLbl="node1" presStyleIdx="9" presStyleCnt="39" custScaleX="250742" custLinFactNeighborX="10385" custLinFactNeighborY="17639">
        <dgm:presLayoutVars>
          <dgm:bulletEnabled val="1"/>
        </dgm:presLayoutVars>
      </dgm:prSet>
      <dgm:spPr/>
    </dgm:pt>
    <dgm:pt modelId="{1B9A2EB2-F00C-4F44-B42E-AD12EE8FFF49}" type="pres">
      <dgm:prSet presAssocID="{54B69FB5-4046-4E32-9D5A-70D849225F8E}" presName="aSpace2" presStyleCnt="0"/>
      <dgm:spPr/>
    </dgm:pt>
    <dgm:pt modelId="{EC810B8E-70A9-4A69-BAE7-A518C270DB39}" type="pres">
      <dgm:prSet presAssocID="{0B7F4DF9-28BA-4E5A-B633-5016AFC498D7}" presName="childNode" presStyleLbl="node1" presStyleIdx="10" presStyleCnt="39" custScaleX="250742" custLinFactNeighborX="10385" custLinFactNeighborY="17639">
        <dgm:presLayoutVars>
          <dgm:bulletEnabled val="1"/>
        </dgm:presLayoutVars>
      </dgm:prSet>
      <dgm:spPr/>
    </dgm:pt>
    <dgm:pt modelId="{330C7145-05EE-4AD4-945B-F71F70E451FC}" type="pres">
      <dgm:prSet presAssocID="{0B7F4DF9-28BA-4E5A-B633-5016AFC498D7}" presName="aSpace2" presStyleCnt="0"/>
      <dgm:spPr/>
    </dgm:pt>
    <dgm:pt modelId="{DB7D4BA6-A3EA-417B-9CDC-ABE69784CC1A}" type="pres">
      <dgm:prSet presAssocID="{133FF2BE-235B-4015-A606-03410D322CC4}" presName="childNode" presStyleLbl="node1" presStyleIdx="11" presStyleCnt="39" custScaleX="250742" custLinFactNeighborX="10385" custLinFactNeighborY="17639">
        <dgm:presLayoutVars>
          <dgm:bulletEnabled val="1"/>
        </dgm:presLayoutVars>
      </dgm:prSet>
      <dgm:spPr/>
    </dgm:pt>
    <dgm:pt modelId="{F6B12539-2EF2-4014-82CE-F261D0C4850E}" type="pres">
      <dgm:prSet presAssocID="{133FF2BE-235B-4015-A606-03410D322CC4}" presName="aSpace2" presStyleCnt="0"/>
      <dgm:spPr/>
    </dgm:pt>
    <dgm:pt modelId="{0A1AAC4D-DC4C-4A0F-BEFD-612774AC9502}" type="pres">
      <dgm:prSet presAssocID="{90D933D6-ECB2-45C2-A7A0-486834681B4B}" presName="childNode" presStyleLbl="node1" presStyleIdx="12" presStyleCnt="39" custScaleX="250742" custLinFactNeighborX="10385" custLinFactNeighborY="17639">
        <dgm:presLayoutVars>
          <dgm:bulletEnabled val="1"/>
        </dgm:presLayoutVars>
      </dgm:prSet>
      <dgm:spPr/>
    </dgm:pt>
    <dgm:pt modelId="{5CA11F01-E48E-4232-B516-8DC1DFC22EBB}" type="pres">
      <dgm:prSet presAssocID="{90D933D6-ECB2-45C2-A7A0-486834681B4B}" presName="aSpace2" presStyleCnt="0"/>
      <dgm:spPr/>
    </dgm:pt>
    <dgm:pt modelId="{F0E64EBB-9957-4F0E-86B6-8DD807B5DE4D}" type="pres">
      <dgm:prSet presAssocID="{FE89A3E9-EF81-4C90-9005-95977EF388FC}" presName="childNode" presStyleLbl="node1" presStyleIdx="13" presStyleCnt="39" custScaleX="250742" custLinFactNeighborX="10385" custLinFactNeighborY="17639">
        <dgm:presLayoutVars>
          <dgm:bulletEnabled val="1"/>
        </dgm:presLayoutVars>
      </dgm:prSet>
      <dgm:spPr/>
    </dgm:pt>
    <dgm:pt modelId="{42B74002-53E7-469D-B167-384DFCBC5C4E}" type="pres">
      <dgm:prSet presAssocID="{78597E22-CD1E-4913-B023-8407792BAC0B}" presName="aSpace" presStyleCnt="0"/>
      <dgm:spPr/>
    </dgm:pt>
    <dgm:pt modelId="{042C4574-CFAF-4481-B605-838B95BCC269}" type="pres">
      <dgm:prSet presAssocID="{AE78302B-3463-48F2-8190-686A4610D3DD}" presName="compNode" presStyleCnt="0"/>
      <dgm:spPr/>
    </dgm:pt>
    <dgm:pt modelId="{E02D2D95-1F46-4E4D-BEF7-DE0722C55940}" type="pres">
      <dgm:prSet presAssocID="{AE78302B-3463-48F2-8190-686A4610D3DD}" presName="aNode" presStyleLbl="bgShp" presStyleIdx="1" presStyleCnt="5"/>
      <dgm:spPr/>
    </dgm:pt>
    <dgm:pt modelId="{1E35E431-D5B2-4C6C-812E-14E5874C7844}" type="pres">
      <dgm:prSet presAssocID="{AE78302B-3463-48F2-8190-686A4610D3DD}" presName="textNode" presStyleLbl="bgShp" presStyleIdx="1" presStyleCnt="5"/>
      <dgm:spPr/>
    </dgm:pt>
    <dgm:pt modelId="{1E68809E-C899-4D07-B549-0AEED92E75B5}" type="pres">
      <dgm:prSet presAssocID="{AE78302B-3463-48F2-8190-686A4610D3DD}" presName="compChildNode" presStyleCnt="0"/>
      <dgm:spPr/>
    </dgm:pt>
    <dgm:pt modelId="{F215C096-492B-45F3-AB10-A06FFC22894E}" type="pres">
      <dgm:prSet presAssocID="{AE78302B-3463-48F2-8190-686A4610D3DD}" presName="theInnerList" presStyleCnt="0"/>
      <dgm:spPr/>
    </dgm:pt>
    <dgm:pt modelId="{170EC44E-D5D7-447C-9064-E259ADC31D23}" type="pres">
      <dgm:prSet presAssocID="{AE78302B-3463-48F2-8190-686A4610D3DD}" presName="aSpace" presStyleCnt="0"/>
      <dgm:spPr/>
    </dgm:pt>
    <dgm:pt modelId="{383A4CE9-F30B-481A-AC20-B5C27567BB0C}" type="pres">
      <dgm:prSet presAssocID="{16CD15F3-1CB0-4475-9A06-68F1305FCF19}" presName="compNode" presStyleCnt="0"/>
      <dgm:spPr/>
    </dgm:pt>
    <dgm:pt modelId="{D18E730F-999E-466E-8DC4-788E6101E64A}" type="pres">
      <dgm:prSet presAssocID="{16CD15F3-1CB0-4475-9A06-68F1305FCF19}" presName="aNode" presStyleLbl="bgShp" presStyleIdx="2" presStyleCnt="5" custScaleX="141299" custScaleY="90909" custLinFactNeighborX="-32182" custLinFactNeighborY="2399"/>
      <dgm:spPr/>
    </dgm:pt>
    <dgm:pt modelId="{42069F8C-00E8-49EF-885A-B7B101C934D3}" type="pres">
      <dgm:prSet presAssocID="{16CD15F3-1CB0-4475-9A06-68F1305FCF19}" presName="textNode" presStyleLbl="bgShp" presStyleIdx="2" presStyleCnt="5"/>
      <dgm:spPr/>
    </dgm:pt>
    <dgm:pt modelId="{C3DA01EA-3D80-4049-8871-5B7DEB2DE91C}" type="pres">
      <dgm:prSet presAssocID="{16CD15F3-1CB0-4475-9A06-68F1305FCF19}" presName="compChildNode" presStyleCnt="0"/>
      <dgm:spPr/>
    </dgm:pt>
    <dgm:pt modelId="{3C27F487-5D83-4413-90FE-85D1BF0DFC72}" type="pres">
      <dgm:prSet presAssocID="{16CD15F3-1CB0-4475-9A06-68F1305FCF19}" presName="theInnerList" presStyleCnt="0"/>
      <dgm:spPr/>
    </dgm:pt>
    <dgm:pt modelId="{BE085C00-0B41-4F94-911D-A0645BC8F652}" type="pres">
      <dgm:prSet presAssocID="{C7F503E1-0F17-4A08-8239-C4B42F21EB7D}" presName="childNode" presStyleLbl="node1" presStyleIdx="14" presStyleCnt="39" custScaleX="164849" custScaleY="2000000" custLinFactNeighborX="-40480" custLinFactNeighborY="-63355">
        <dgm:presLayoutVars>
          <dgm:bulletEnabled val="1"/>
        </dgm:presLayoutVars>
      </dgm:prSet>
      <dgm:spPr/>
    </dgm:pt>
    <dgm:pt modelId="{1DC01CF5-CD6E-49C5-871B-704445CD9B52}" type="pres">
      <dgm:prSet presAssocID="{C7F503E1-0F17-4A08-8239-C4B42F21EB7D}" presName="aSpace2" presStyleCnt="0"/>
      <dgm:spPr/>
    </dgm:pt>
    <dgm:pt modelId="{E4CFA89F-7A3A-4936-9D3E-4B1A91182D3A}" type="pres">
      <dgm:prSet presAssocID="{118A6CF7-1D9E-47F5-8CB6-BED171A3A982}" presName="childNode" presStyleLbl="node1" presStyleIdx="15" presStyleCnt="39" custScaleX="164849" custScaleY="2000000" custLinFactNeighborX="-40480" custLinFactNeighborY="-63355">
        <dgm:presLayoutVars>
          <dgm:bulletEnabled val="1"/>
        </dgm:presLayoutVars>
      </dgm:prSet>
      <dgm:spPr/>
    </dgm:pt>
    <dgm:pt modelId="{4F7A6CAD-40A1-494C-B089-A64C3465AFA8}" type="pres">
      <dgm:prSet presAssocID="{118A6CF7-1D9E-47F5-8CB6-BED171A3A982}" presName="aSpace2" presStyleCnt="0"/>
      <dgm:spPr/>
    </dgm:pt>
    <dgm:pt modelId="{574106B2-D6B0-4D31-B3BC-7F72F984552C}" type="pres">
      <dgm:prSet presAssocID="{6F6AC474-0B5E-47CA-A69F-183EDD24D786}" presName="childNode" presStyleLbl="node1" presStyleIdx="16" presStyleCnt="39" custScaleX="164849" custScaleY="2000000" custLinFactNeighborX="-40480" custLinFactNeighborY="-63355">
        <dgm:presLayoutVars>
          <dgm:bulletEnabled val="1"/>
        </dgm:presLayoutVars>
      </dgm:prSet>
      <dgm:spPr/>
    </dgm:pt>
    <dgm:pt modelId="{51BAC666-E949-4CF7-83F3-F51C3F491CAD}" type="pres">
      <dgm:prSet presAssocID="{6F6AC474-0B5E-47CA-A69F-183EDD24D786}" presName="aSpace2" presStyleCnt="0"/>
      <dgm:spPr/>
    </dgm:pt>
    <dgm:pt modelId="{EC4465A2-5736-4DAC-91EF-B3CE0BB7B086}" type="pres">
      <dgm:prSet presAssocID="{1E499FEC-5F7F-4ACD-A553-EA7CDDC82FCE}" presName="childNode" presStyleLbl="node1" presStyleIdx="17" presStyleCnt="39" custScaleX="164849" custScaleY="2000000" custLinFactNeighborX="-40480" custLinFactNeighborY="-63355">
        <dgm:presLayoutVars>
          <dgm:bulletEnabled val="1"/>
        </dgm:presLayoutVars>
      </dgm:prSet>
      <dgm:spPr/>
    </dgm:pt>
    <dgm:pt modelId="{1C2ED76A-8151-45A8-9517-38F613615203}" type="pres">
      <dgm:prSet presAssocID="{1E499FEC-5F7F-4ACD-A553-EA7CDDC82FCE}" presName="aSpace2" presStyleCnt="0"/>
      <dgm:spPr/>
    </dgm:pt>
    <dgm:pt modelId="{093563BE-4697-4567-89E8-C6E5A97165E2}" type="pres">
      <dgm:prSet presAssocID="{97521D48-8C08-4056-8E13-756AC21FC966}" presName="childNode" presStyleLbl="node1" presStyleIdx="18" presStyleCnt="39" custScaleX="164849" custScaleY="2000000" custLinFactNeighborX="-40480" custLinFactNeighborY="-63355">
        <dgm:presLayoutVars>
          <dgm:bulletEnabled val="1"/>
        </dgm:presLayoutVars>
      </dgm:prSet>
      <dgm:spPr/>
    </dgm:pt>
    <dgm:pt modelId="{CA3E2290-6C32-4883-A92F-E5D71A7601AD}" type="pres">
      <dgm:prSet presAssocID="{97521D48-8C08-4056-8E13-756AC21FC966}" presName="aSpace2" presStyleCnt="0"/>
      <dgm:spPr/>
    </dgm:pt>
    <dgm:pt modelId="{937B2D49-F9C3-4D9D-82E3-93C31EEAAD63}" type="pres">
      <dgm:prSet presAssocID="{479D34F9-B3B6-4337-A41A-172FCFA2B918}" presName="childNode" presStyleLbl="node1" presStyleIdx="19" presStyleCnt="39" custScaleX="164849" custScaleY="2000000" custLinFactNeighborX="-40480" custLinFactNeighborY="-63355">
        <dgm:presLayoutVars>
          <dgm:bulletEnabled val="1"/>
        </dgm:presLayoutVars>
      </dgm:prSet>
      <dgm:spPr/>
    </dgm:pt>
    <dgm:pt modelId="{8E2D954E-A60B-4D63-A2CB-4B77A04813BA}" type="pres">
      <dgm:prSet presAssocID="{479D34F9-B3B6-4337-A41A-172FCFA2B918}" presName="aSpace2" presStyleCnt="0"/>
      <dgm:spPr/>
    </dgm:pt>
    <dgm:pt modelId="{E6C67A2C-EDEC-47E5-B538-F8926B4DEB2E}" type="pres">
      <dgm:prSet presAssocID="{7AEE14FD-123D-449A-A3EF-9ECE1A4B664E}" presName="childNode" presStyleLbl="node1" presStyleIdx="20" presStyleCnt="39" custScaleX="164849" custScaleY="2000000" custLinFactNeighborX="-40480" custLinFactNeighborY="-63355">
        <dgm:presLayoutVars>
          <dgm:bulletEnabled val="1"/>
        </dgm:presLayoutVars>
      </dgm:prSet>
      <dgm:spPr/>
    </dgm:pt>
    <dgm:pt modelId="{F51BE5C8-6994-4475-A8D1-02BF739AD36A}" type="pres">
      <dgm:prSet presAssocID="{7AEE14FD-123D-449A-A3EF-9ECE1A4B664E}" presName="aSpace2" presStyleCnt="0"/>
      <dgm:spPr/>
    </dgm:pt>
    <dgm:pt modelId="{BBA3C476-D826-4D70-A224-197501CD49AC}" type="pres">
      <dgm:prSet presAssocID="{FBE37025-52E7-4EE3-88B8-1FB64353DA56}" presName="childNode" presStyleLbl="node1" presStyleIdx="21" presStyleCnt="39" custScaleX="164849" custScaleY="2000000" custLinFactNeighborX="-40480" custLinFactNeighborY="-63355">
        <dgm:presLayoutVars>
          <dgm:bulletEnabled val="1"/>
        </dgm:presLayoutVars>
      </dgm:prSet>
      <dgm:spPr/>
    </dgm:pt>
    <dgm:pt modelId="{ED13FE91-C3C8-41FF-9DEA-020347E87FBB}" type="pres">
      <dgm:prSet presAssocID="{FBE37025-52E7-4EE3-88B8-1FB64353DA56}" presName="aSpace2" presStyleCnt="0"/>
      <dgm:spPr/>
    </dgm:pt>
    <dgm:pt modelId="{84DD0C19-AB1E-4CC3-B569-659F2ED18600}" type="pres">
      <dgm:prSet presAssocID="{DDF2633B-4E46-498E-AF7F-6A90A25762AC}" presName="childNode" presStyleLbl="node1" presStyleIdx="22" presStyleCnt="39" custScaleX="164849" custScaleY="2000000" custLinFactNeighborX="-40480" custLinFactNeighborY="-63355">
        <dgm:presLayoutVars>
          <dgm:bulletEnabled val="1"/>
        </dgm:presLayoutVars>
      </dgm:prSet>
      <dgm:spPr/>
    </dgm:pt>
    <dgm:pt modelId="{52547F40-48C7-4FDD-B85E-E0BD5DC588CF}" type="pres">
      <dgm:prSet presAssocID="{DDF2633B-4E46-498E-AF7F-6A90A25762AC}" presName="aSpace2" presStyleCnt="0"/>
      <dgm:spPr/>
    </dgm:pt>
    <dgm:pt modelId="{CCEE2976-9D30-47D7-A314-29DE2BB1BEDE}" type="pres">
      <dgm:prSet presAssocID="{931E90D5-0C93-488D-801B-FC4B2281C45F}" presName="childNode" presStyleLbl="node1" presStyleIdx="23" presStyleCnt="39" custScaleX="164849" custScaleY="2000000" custLinFactNeighborX="-40480" custLinFactNeighborY="-63355">
        <dgm:presLayoutVars>
          <dgm:bulletEnabled val="1"/>
        </dgm:presLayoutVars>
      </dgm:prSet>
      <dgm:spPr/>
    </dgm:pt>
    <dgm:pt modelId="{DDD1138F-A87A-4A28-A898-61A66260ED56}" type="pres">
      <dgm:prSet presAssocID="{931E90D5-0C93-488D-801B-FC4B2281C45F}" presName="aSpace2" presStyleCnt="0"/>
      <dgm:spPr/>
    </dgm:pt>
    <dgm:pt modelId="{0158873E-7EBE-4F58-A1D9-06BBDF91AB2F}" type="pres">
      <dgm:prSet presAssocID="{818B8574-EDE8-47ED-809D-20DA478AB71B}" presName="childNode" presStyleLbl="node1" presStyleIdx="24" presStyleCnt="39" custScaleX="164849" custScaleY="2000000" custLinFactNeighborX="-40480" custLinFactNeighborY="-63355">
        <dgm:presLayoutVars>
          <dgm:bulletEnabled val="1"/>
        </dgm:presLayoutVars>
      </dgm:prSet>
      <dgm:spPr/>
    </dgm:pt>
    <dgm:pt modelId="{6181434A-300C-47B2-B4F0-2A5A4FBE6D4F}" type="pres">
      <dgm:prSet presAssocID="{818B8574-EDE8-47ED-809D-20DA478AB71B}" presName="aSpace2" presStyleCnt="0"/>
      <dgm:spPr/>
    </dgm:pt>
    <dgm:pt modelId="{869D2B7C-CCA5-4B3B-9971-9FE67B67E1D8}" type="pres">
      <dgm:prSet presAssocID="{ECD14FD1-50D2-4C59-B8BD-1F37AE79CEA2}" presName="childNode" presStyleLbl="node1" presStyleIdx="25" presStyleCnt="39" custScaleX="164849" custScaleY="2000000" custLinFactNeighborX="-40480" custLinFactNeighborY="-63355">
        <dgm:presLayoutVars>
          <dgm:bulletEnabled val="1"/>
        </dgm:presLayoutVars>
      </dgm:prSet>
      <dgm:spPr/>
    </dgm:pt>
    <dgm:pt modelId="{E0AEDB01-2DC7-4493-9A0C-E704F8595665}" type="pres">
      <dgm:prSet presAssocID="{ECD14FD1-50D2-4C59-B8BD-1F37AE79CEA2}" presName="aSpace2" presStyleCnt="0"/>
      <dgm:spPr/>
    </dgm:pt>
    <dgm:pt modelId="{BA2B0C43-3487-4BBB-BFF4-F76C7596047C}" type="pres">
      <dgm:prSet presAssocID="{B81E0E4D-0021-462E-90F4-FF546AA789A7}" presName="childNode" presStyleLbl="node1" presStyleIdx="26" presStyleCnt="39" custScaleX="164849" custScaleY="2000000" custLinFactNeighborX="-40480" custLinFactNeighborY="-63355">
        <dgm:presLayoutVars>
          <dgm:bulletEnabled val="1"/>
        </dgm:presLayoutVars>
      </dgm:prSet>
      <dgm:spPr/>
    </dgm:pt>
    <dgm:pt modelId="{FDB26091-163C-4697-B295-3EC6AABC74B5}" type="pres">
      <dgm:prSet presAssocID="{B81E0E4D-0021-462E-90F4-FF546AA789A7}" presName="aSpace2" presStyleCnt="0"/>
      <dgm:spPr/>
    </dgm:pt>
    <dgm:pt modelId="{0FB32D54-D40E-4FFB-920B-E42B64067195}" type="pres">
      <dgm:prSet presAssocID="{B4119E93-4C25-4664-B970-A6590236038F}" presName="childNode" presStyleLbl="node1" presStyleIdx="27" presStyleCnt="39" custScaleX="164849" custScaleY="2000000" custLinFactNeighborX="-40480" custLinFactNeighborY="-63355">
        <dgm:presLayoutVars>
          <dgm:bulletEnabled val="1"/>
        </dgm:presLayoutVars>
      </dgm:prSet>
      <dgm:spPr/>
    </dgm:pt>
    <dgm:pt modelId="{FA1D11EE-1D66-4A35-B5FC-55FD86C7811B}" type="pres">
      <dgm:prSet presAssocID="{16CD15F3-1CB0-4475-9A06-68F1305FCF19}" presName="aSpace" presStyleCnt="0"/>
      <dgm:spPr/>
    </dgm:pt>
    <dgm:pt modelId="{00B39A80-8B15-41F7-85EE-32F54933BE2F}" type="pres">
      <dgm:prSet presAssocID="{B1ECF552-BA85-4AC5-A70F-E63E7CD824BB}" presName="compNode" presStyleCnt="0"/>
      <dgm:spPr/>
    </dgm:pt>
    <dgm:pt modelId="{4DFD3513-F422-4C43-8651-2419B4981D41}" type="pres">
      <dgm:prSet presAssocID="{B1ECF552-BA85-4AC5-A70F-E63E7CD824BB}" presName="aNode" presStyleLbl="bgShp" presStyleIdx="3" presStyleCnt="5" custScaleX="141299" custScaleY="90909" custLinFactNeighborX="-19808" custLinFactNeighborY="179"/>
      <dgm:spPr/>
    </dgm:pt>
    <dgm:pt modelId="{645B9466-A629-4CC9-B262-75E2C0EDED9C}" type="pres">
      <dgm:prSet presAssocID="{B1ECF552-BA85-4AC5-A70F-E63E7CD824BB}" presName="textNode" presStyleLbl="bgShp" presStyleIdx="3" presStyleCnt="5"/>
      <dgm:spPr/>
    </dgm:pt>
    <dgm:pt modelId="{17D8352B-016D-47C0-B059-662899A80E87}" type="pres">
      <dgm:prSet presAssocID="{B1ECF552-BA85-4AC5-A70F-E63E7CD824BB}" presName="compChildNode" presStyleCnt="0"/>
      <dgm:spPr/>
    </dgm:pt>
    <dgm:pt modelId="{BE10C209-C842-4185-8EF7-8F237B9B5F92}" type="pres">
      <dgm:prSet presAssocID="{B1ECF552-BA85-4AC5-A70F-E63E7CD824BB}" presName="theInnerList" presStyleCnt="0"/>
      <dgm:spPr/>
    </dgm:pt>
    <dgm:pt modelId="{D6F41F54-485C-41A3-B314-643D54248090}" type="pres">
      <dgm:prSet presAssocID="{D57CD2BE-4252-464E-A1AD-727D70ADCBCD}" presName="childNode" presStyleLbl="node1" presStyleIdx="28" presStyleCnt="39" custScaleX="164849" custScaleY="2000000" custLinFactNeighborX="-22847">
        <dgm:presLayoutVars>
          <dgm:bulletEnabled val="1"/>
        </dgm:presLayoutVars>
      </dgm:prSet>
      <dgm:spPr/>
    </dgm:pt>
    <dgm:pt modelId="{96298BBF-7CF3-46DC-8A77-83CE0A6261F2}" type="pres">
      <dgm:prSet presAssocID="{D57CD2BE-4252-464E-A1AD-727D70ADCBCD}" presName="aSpace2" presStyleCnt="0"/>
      <dgm:spPr/>
    </dgm:pt>
    <dgm:pt modelId="{BEE98AEB-C86F-4642-B4C8-DBD2930BE388}" type="pres">
      <dgm:prSet presAssocID="{11DBF054-E928-4372-8550-9A0AE5158563}" presName="childNode" presStyleLbl="node1" presStyleIdx="29" presStyleCnt="39" custScaleX="164849" custScaleY="2000000" custLinFactNeighborX="-22847">
        <dgm:presLayoutVars>
          <dgm:bulletEnabled val="1"/>
        </dgm:presLayoutVars>
      </dgm:prSet>
      <dgm:spPr/>
    </dgm:pt>
    <dgm:pt modelId="{079C6E0F-3E31-409A-A147-BF62C785A617}" type="pres">
      <dgm:prSet presAssocID="{11DBF054-E928-4372-8550-9A0AE5158563}" presName="aSpace2" presStyleCnt="0"/>
      <dgm:spPr/>
    </dgm:pt>
    <dgm:pt modelId="{6784D37E-186C-4942-BA2E-EB238594F702}" type="pres">
      <dgm:prSet presAssocID="{F096A25C-14BE-4292-84F0-98C20A1AF41A}" presName="childNode" presStyleLbl="node1" presStyleIdx="30" presStyleCnt="39" custScaleX="164849" custScaleY="2000000" custLinFactNeighborX="-22847">
        <dgm:presLayoutVars>
          <dgm:bulletEnabled val="1"/>
        </dgm:presLayoutVars>
      </dgm:prSet>
      <dgm:spPr/>
    </dgm:pt>
    <dgm:pt modelId="{38C8793C-14B2-42B2-A731-0F24F5A482CB}" type="pres">
      <dgm:prSet presAssocID="{F096A25C-14BE-4292-84F0-98C20A1AF41A}" presName="aSpace2" presStyleCnt="0"/>
      <dgm:spPr/>
    </dgm:pt>
    <dgm:pt modelId="{F0573CE0-C240-498A-9576-DE1D39389325}" type="pres">
      <dgm:prSet presAssocID="{F0D0B441-4F19-4736-848B-43799B822097}" presName="childNode" presStyleLbl="node1" presStyleIdx="31" presStyleCnt="39" custScaleX="164849" custScaleY="2000000" custLinFactNeighborX="-22847">
        <dgm:presLayoutVars>
          <dgm:bulletEnabled val="1"/>
        </dgm:presLayoutVars>
      </dgm:prSet>
      <dgm:spPr/>
    </dgm:pt>
    <dgm:pt modelId="{B10C04E5-3994-4AD1-B025-44F0A54DD0FD}" type="pres">
      <dgm:prSet presAssocID="{F0D0B441-4F19-4736-848B-43799B822097}" presName="aSpace2" presStyleCnt="0"/>
      <dgm:spPr/>
    </dgm:pt>
    <dgm:pt modelId="{60B438C9-E20C-49D6-92F6-908198A94788}" type="pres">
      <dgm:prSet presAssocID="{51169079-06D4-4F3A-B03D-9B1802E39645}" presName="childNode" presStyleLbl="node1" presStyleIdx="32" presStyleCnt="39" custScaleX="164849" custScaleY="2000000" custLinFactNeighborX="-22847">
        <dgm:presLayoutVars>
          <dgm:bulletEnabled val="1"/>
        </dgm:presLayoutVars>
      </dgm:prSet>
      <dgm:spPr/>
    </dgm:pt>
    <dgm:pt modelId="{60634E92-94BE-4C0C-9D4D-4A9CA9A3EF1D}" type="pres">
      <dgm:prSet presAssocID="{B1ECF552-BA85-4AC5-A70F-E63E7CD824BB}" presName="aSpace" presStyleCnt="0"/>
      <dgm:spPr/>
    </dgm:pt>
    <dgm:pt modelId="{DAA58E4F-95EE-4CD1-9510-C68348DBDA82}" type="pres">
      <dgm:prSet presAssocID="{4EBB1E33-2019-4F34-9A50-C31D0B9182C1}" presName="compNode" presStyleCnt="0"/>
      <dgm:spPr/>
    </dgm:pt>
    <dgm:pt modelId="{1BA5F8EF-479F-4E12-8832-70B9F83354CB}" type="pres">
      <dgm:prSet presAssocID="{4EBB1E33-2019-4F34-9A50-C31D0B9182C1}" presName="aNode" presStyleLbl="bgShp" presStyleIdx="4" presStyleCnt="5" custScaleX="141299" custScaleY="90909" custLinFactNeighborX="-6646" custLinFactNeighborY="358"/>
      <dgm:spPr/>
    </dgm:pt>
    <dgm:pt modelId="{558F9E3C-222B-4B61-A2C4-9751FC6E0656}" type="pres">
      <dgm:prSet presAssocID="{4EBB1E33-2019-4F34-9A50-C31D0B9182C1}" presName="textNode" presStyleLbl="bgShp" presStyleIdx="4" presStyleCnt="5"/>
      <dgm:spPr/>
    </dgm:pt>
    <dgm:pt modelId="{B102E20B-C2F3-4B9E-8042-918A2F0EA697}" type="pres">
      <dgm:prSet presAssocID="{4EBB1E33-2019-4F34-9A50-C31D0B9182C1}" presName="compChildNode" presStyleCnt="0"/>
      <dgm:spPr/>
    </dgm:pt>
    <dgm:pt modelId="{616AC692-7D51-4A8A-BE2D-352A50B4D1DB}" type="pres">
      <dgm:prSet presAssocID="{4EBB1E33-2019-4F34-9A50-C31D0B9182C1}" presName="theInnerList" presStyleCnt="0"/>
      <dgm:spPr/>
    </dgm:pt>
    <dgm:pt modelId="{E4371515-9205-4279-A8A4-AF41A7AD6FF4}" type="pres">
      <dgm:prSet presAssocID="{2BC2E6A0-C9CF-45FC-B414-61BDD89FAFAA}" presName="childNode" presStyleLbl="node1" presStyleIdx="33" presStyleCnt="39" custScaleX="164849" custScaleY="2000000" custLinFactNeighborX="-9346">
        <dgm:presLayoutVars>
          <dgm:bulletEnabled val="1"/>
        </dgm:presLayoutVars>
      </dgm:prSet>
      <dgm:spPr/>
    </dgm:pt>
    <dgm:pt modelId="{88ABAA53-949F-41AE-A578-5BC00E4575BE}" type="pres">
      <dgm:prSet presAssocID="{2BC2E6A0-C9CF-45FC-B414-61BDD89FAFAA}" presName="aSpace2" presStyleCnt="0"/>
      <dgm:spPr/>
    </dgm:pt>
    <dgm:pt modelId="{35C7A667-9925-4B5B-A307-3CB9140D7C7F}" type="pres">
      <dgm:prSet presAssocID="{DB3E9935-78B0-4D24-836E-B1A4ADB38642}" presName="childNode" presStyleLbl="node1" presStyleIdx="34" presStyleCnt="39" custScaleX="164849" custScaleY="2000000" custLinFactNeighborX="-9346">
        <dgm:presLayoutVars>
          <dgm:bulletEnabled val="1"/>
        </dgm:presLayoutVars>
      </dgm:prSet>
      <dgm:spPr/>
    </dgm:pt>
    <dgm:pt modelId="{55958233-B780-4C2C-8351-EC2AC6390CE4}" type="pres">
      <dgm:prSet presAssocID="{DB3E9935-78B0-4D24-836E-B1A4ADB38642}" presName="aSpace2" presStyleCnt="0"/>
      <dgm:spPr/>
    </dgm:pt>
    <dgm:pt modelId="{2767FEF0-2885-481A-8CD6-1C614743BBB5}" type="pres">
      <dgm:prSet presAssocID="{FEFEAA95-2AC5-479D-83CA-A5552F4D8A65}" presName="childNode" presStyleLbl="node1" presStyleIdx="35" presStyleCnt="39" custScaleX="164849" custScaleY="2000000" custLinFactNeighborX="-9346">
        <dgm:presLayoutVars>
          <dgm:bulletEnabled val="1"/>
        </dgm:presLayoutVars>
      </dgm:prSet>
      <dgm:spPr/>
    </dgm:pt>
    <dgm:pt modelId="{56EEF8EA-EB9B-45D3-BC1C-24CF160D6561}" type="pres">
      <dgm:prSet presAssocID="{FEFEAA95-2AC5-479D-83CA-A5552F4D8A65}" presName="aSpace2" presStyleCnt="0"/>
      <dgm:spPr/>
    </dgm:pt>
    <dgm:pt modelId="{7C4919D9-B3F3-4E5A-B707-5A7C87EE3C50}" type="pres">
      <dgm:prSet presAssocID="{E2FFAD0C-EDC5-4DC1-B64A-3BF9DAA5972C}" presName="childNode" presStyleLbl="node1" presStyleIdx="36" presStyleCnt="39" custScaleX="164849" custScaleY="2000000" custLinFactNeighborX="-9346">
        <dgm:presLayoutVars>
          <dgm:bulletEnabled val="1"/>
        </dgm:presLayoutVars>
      </dgm:prSet>
      <dgm:spPr/>
    </dgm:pt>
    <dgm:pt modelId="{6F858105-C724-4A0A-A81D-C96974347059}" type="pres">
      <dgm:prSet presAssocID="{E2FFAD0C-EDC5-4DC1-B64A-3BF9DAA5972C}" presName="aSpace2" presStyleCnt="0"/>
      <dgm:spPr/>
    </dgm:pt>
    <dgm:pt modelId="{F5D7AF6D-6089-4432-BED3-1E6C809AEE19}" type="pres">
      <dgm:prSet presAssocID="{71E3FC43-6466-4D86-ADA5-FBE04623D85B}" presName="childNode" presStyleLbl="node1" presStyleIdx="37" presStyleCnt="39" custScaleX="164849" custScaleY="2000000" custLinFactNeighborX="-9346">
        <dgm:presLayoutVars>
          <dgm:bulletEnabled val="1"/>
        </dgm:presLayoutVars>
      </dgm:prSet>
      <dgm:spPr/>
    </dgm:pt>
    <dgm:pt modelId="{D6E90D02-01FC-48DA-A2CE-9356CABDF85B}" type="pres">
      <dgm:prSet presAssocID="{71E3FC43-6466-4D86-ADA5-FBE04623D85B}" presName="aSpace2" presStyleCnt="0"/>
      <dgm:spPr/>
    </dgm:pt>
    <dgm:pt modelId="{D47E1101-EA04-49B9-AED1-9F717654D507}" type="pres">
      <dgm:prSet presAssocID="{A358F3CE-56C6-4729-8B5E-167A98523078}" presName="childNode" presStyleLbl="node1" presStyleIdx="38" presStyleCnt="39" custScaleX="164849" custScaleY="2000000" custLinFactNeighborX="-9346">
        <dgm:presLayoutVars>
          <dgm:bulletEnabled val="1"/>
        </dgm:presLayoutVars>
      </dgm:prSet>
      <dgm:spPr/>
    </dgm:pt>
  </dgm:ptLst>
  <dgm:cxnLst>
    <dgm:cxn modelId="{89A7D500-5C9C-483F-9034-244A993F9647}" type="presOf" srcId="{D57CD2BE-4252-464E-A1AD-727D70ADCBCD}" destId="{D6F41F54-485C-41A3-B314-643D54248090}" srcOrd="0" destOrd="0" presId="urn:microsoft.com/office/officeart/2005/8/layout/lProcess2"/>
    <dgm:cxn modelId="{E8305904-D76D-45DB-BCE1-D716B828456A}" type="presOf" srcId="{8720E8D7-B1B7-4DD3-937F-B5C6783C1747}" destId="{CA242BD1-826D-4405-A4BF-795C56AB112A}" srcOrd="0" destOrd="0" presId="urn:microsoft.com/office/officeart/2005/8/layout/lProcess2"/>
    <dgm:cxn modelId="{FD6B760B-7E04-4D74-B820-206B1A3CD0D2}" srcId="{16CD15F3-1CB0-4475-9A06-68F1305FCF19}" destId="{118A6CF7-1D9E-47F5-8CB6-BED171A3A982}" srcOrd="1" destOrd="0" parTransId="{A95A16F9-13D4-437E-8C3C-EEEA2D62E317}" sibTransId="{ECBBCDF6-596B-4C46-9C7A-B43C4CE40E23}"/>
    <dgm:cxn modelId="{8936840D-746F-41CE-90A7-554F1B6DBD5E}" srcId="{78597E22-CD1E-4913-B023-8407792BAC0B}" destId="{625A65C5-3096-436A-A5C5-B3690C6630A9}" srcOrd="5" destOrd="0" parTransId="{F080D91B-0D16-4A3F-BBB8-06BE27CB8961}" sibTransId="{2AD071C4-A617-4B9A-8FB1-56B98FB09053}"/>
    <dgm:cxn modelId="{CC879411-679E-447A-8959-2B26D0B559AB}" type="presOf" srcId="{FEFEAA95-2AC5-479D-83CA-A5552F4D8A65}" destId="{2767FEF0-2885-481A-8CD6-1C614743BBB5}" srcOrd="0" destOrd="0" presId="urn:microsoft.com/office/officeart/2005/8/layout/lProcess2"/>
    <dgm:cxn modelId="{55D50313-42EC-4DC0-9FEC-4E02C51F86F4}" type="presOf" srcId="{11DBF054-E928-4372-8550-9A0AE5158563}" destId="{BEE98AEB-C86F-4642-B4C8-DBD2930BE388}" srcOrd="0" destOrd="0" presId="urn:microsoft.com/office/officeart/2005/8/layout/lProcess2"/>
    <dgm:cxn modelId="{46963A14-1C74-423A-A9DD-04AB5A3549EB}" srcId="{8FC6FB74-9ED5-42DC-95FD-9CC399576A32}" destId="{AE78302B-3463-48F2-8190-686A4610D3DD}" srcOrd="1" destOrd="0" parTransId="{5201B38A-1FFD-47DD-9663-6951B300B898}" sibTransId="{3D54430C-0A2F-499F-BDF7-DD22F14811CD}"/>
    <dgm:cxn modelId="{A052F515-5533-4B78-BE91-2EE1C59542CD}" srcId="{78597E22-CD1E-4913-B023-8407792BAC0B}" destId="{CE23C623-1CB3-4993-841B-09C02D2FC79A}" srcOrd="0" destOrd="0" parTransId="{2B1A1318-DFA6-4310-B8DF-795A0A442E61}" sibTransId="{6969F6B6-DF10-4448-B563-2195BD14DC3F}"/>
    <dgm:cxn modelId="{1B740C1F-B851-4DAB-A899-7EDE2D3B5ABA}" type="presOf" srcId="{51169079-06D4-4F3A-B03D-9B1802E39645}" destId="{60B438C9-E20C-49D6-92F6-908198A94788}" srcOrd="0" destOrd="0" presId="urn:microsoft.com/office/officeart/2005/8/layout/lProcess2"/>
    <dgm:cxn modelId="{EB88FA24-2854-4A49-92C3-37EF5C2D8A9B}" type="presOf" srcId="{4EBB1E33-2019-4F34-9A50-C31D0B9182C1}" destId="{1BA5F8EF-479F-4E12-8832-70B9F83354CB}" srcOrd="0" destOrd="0" presId="urn:microsoft.com/office/officeart/2005/8/layout/lProcess2"/>
    <dgm:cxn modelId="{17D49D27-F772-432E-8651-397204D32AD6}" srcId="{78597E22-CD1E-4913-B023-8407792BAC0B}" destId="{133FF2BE-235B-4015-A606-03410D322CC4}" srcOrd="11" destOrd="0" parTransId="{14BD31E4-5D5D-4A30-BB39-951E19CFDE35}" sibTransId="{56C75CC5-D91D-4E54-8DBC-E82D06874760}"/>
    <dgm:cxn modelId="{5AC60229-1939-4329-A508-12AB2A29F615}" type="presOf" srcId="{54B69FB5-4046-4E32-9D5A-70D849225F8E}" destId="{D6EF6592-A73E-4684-83CD-997A0BA41A8C}" srcOrd="0" destOrd="0" presId="urn:microsoft.com/office/officeart/2005/8/layout/lProcess2"/>
    <dgm:cxn modelId="{5CEEEA2A-676A-42A7-8896-77D061ADE63C}" srcId="{78597E22-CD1E-4913-B023-8407792BAC0B}" destId="{FE89A3E9-EF81-4C90-9005-95977EF388FC}" srcOrd="13" destOrd="0" parTransId="{3DACC8B9-B4A2-405D-A0FF-E903BDBE988F}" sibTransId="{A95505DB-B02D-4806-B881-AA56F8EB475A}"/>
    <dgm:cxn modelId="{D540AE2F-1C53-474F-A0EE-5FF91FC3E2D9}" type="presOf" srcId="{8FC6FB74-9ED5-42DC-95FD-9CC399576A32}" destId="{09ECC41F-23EA-4D6C-B8BC-0FFAA4DDEA1A}" srcOrd="0" destOrd="0" presId="urn:microsoft.com/office/officeart/2005/8/layout/lProcess2"/>
    <dgm:cxn modelId="{A73A2B31-929F-429F-BB52-1595781C7DD7}" type="presOf" srcId="{DDF2633B-4E46-498E-AF7F-6A90A25762AC}" destId="{84DD0C19-AB1E-4CC3-B569-659F2ED18600}" srcOrd="0" destOrd="0" presId="urn:microsoft.com/office/officeart/2005/8/layout/lProcess2"/>
    <dgm:cxn modelId="{84157733-2C10-4548-8E04-658E08F9B981}" srcId="{78597E22-CD1E-4913-B023-8407792BAC0B}" destId="{54B69FB5-4046-4E32-9D5A-70D849225F8E}" srcOrd="9" destOrd="0" parTransId="{C8510B7D-379D-4E0B-A7F2-DC3291FB091F}" sibTransId="{3E09A036-0DEF-4750-8836-7E506E749361}"/>
    <dgm:cxn modelId="{909CF633-BDBA-4659-8E40-B836498A0AA9}" type="presOf" srcId="{CE23C623-1CB3-4993-841B-09C02D2FC79A}" destId="{263F5FE6-C856-4AEF-BBD6-7B234484455B}" srcOrd="0" destOrd="0" presId="urn:microsoft.com/office/officeart/2005/8/layout/lProcess2"/>
    <dgm:cxn modelId="{8C92C935-B4BA-459B-A8E1-E12FC780E047}" srcId="{16CD15F3-1CB0-4475-9A06-68F1305FCF19}" destId="{DDF2633B-4E46-498E-AF7F-6A90A25762AC}" srcOrd="8" destOrd="0" parTransId="{FB804E2D-DD9B-4702-A54A-841B352643B8}" sibTransId="{BA912EEB-275D-47E7-B48F-6966FE8E7D52}"/>
    <dgm:cxn modelId="{D7173A36-26C4-44C2-8AF0-5EF127526FEF}" type="presOf" srcId="{3D07BCBB-B8A6-4372-967C-C1001B000C54}" destId="{930B01D6-F00C-40EF-87CD-2BE633A1649D}" srcOrd="0" destOrd="0" presId="urn:microsoft.com/office/officeart/2005/8/layout/lProcess2"/>
    <dgm:cxn modelId="{E00BC038-CDB9-4F35-9F0A-7CEC5484BB0E}" type="presOf" srcId="{818B8574-EDE8-47ED-809D-20DA478AB71B}" destId="{0158873E-7EBE-4F58-A1D9-06BBDF91AB2F}" srcOrd="0" destOrd="0" presId="urn:microsoft.com/office/officeart/2005/8/layout/lProcess2"/>
    <dgm:cxn modelId="{9904CB3A-AAE2-49AB-9314-5E57649D784A}" srcId="{B1ECF552-BA85-4AC5-A70F-E63E7CD824BB}" destId="{11DBF054-E928-4372-8550-9A0AE5158563}" srcOrd="1" destOrd="0" parTransId="{2AA1EC2A-5F4C-4F52-8383-1E2ABB94A2BC}" sibTransId="{E1523286-6C8F-457D-AE30-AE5056300132}"/>
    <dgm:cxn modelId="{07824A3B-F6EB-40F8-97D9-79A5EBF59BA4}" srcId="{78597E22-CD1E-4913-B023-8407792BAC0B}" destId="{90D933D6-ECB2-45C2-A7A0-486834681B4B}" srcOrd="12" destOrd="0" parTransId="{3FE939BB-08D9-46F4-9FB9-CB603AA78800}" sibTransId="{1F22C4FE-3716-4BBB-8325-5D0AA7ADC924}"/>
    <dgm:cxn modelId="{2292D53E-9C95-4BBD-AC1B-5A8C07DC2DBE}" srcId="{4EBB1E33-2019-4F34-9A50-C31D0B9182C1}" destId="{DB3E9935-78B0-4D24-836E-B1A4ADB38642}" srcOrd="1" destOrd="0" parTransId="{64248611-AB8F-41DF-857F-EF9A9ACC87AB}" sibTransId="{71BAFDDC-293B-45CB-9F40-76E20A7596F6}"/>
    <dgm:cxn modelId="{3590AD40-EE04-46B5-A8FE-E1791838CBDC}" type="presOf" srcId="{16CD15F3-1CB0-4475-9A06-68F1305FCF19}" destId="{D18E730F-999E-466E-8DC4-788E6101E64A}" srcOrd="0" destOrd="0" presId="urn:microsoft.com/office/officeart/2005/8/layout/lProcess2"/>
    <dgm:cxn modelId="{73100A5C-6466-47D9-9E72-4E1A4F01723D}" type="presOf" srcId="{625A65C5-3096-436A-A5C5-B3690C6630A9}" destId="{D6147051-3FE1-413F-B05F-021A8CDB0F34}" srcOrd="0" destOrd="0" presId="urn:microsoft.com/office/officeart/2005/8/layout/lProcess2"/>
    <dgm:cxn modelId="{B6DB9D5D-4E38-4DE6-AF49-CED46C474ED1}" srcId="{B1ECF552-BA85-4AC5-A70F-E63E7CD824BB}" destId="{D57CD2BE-4252-464E-A1AD-727D70ADCBCD}" srcOrd="0" destOrd="0" parTransId="{6FBD6535-AC84-4E66-A87D-C2949C509205}" sibTransId="{ED0DB2F0-EB4B-41D7-A4F4-D1AAB75FAB88}"/>
    <dgm:cxn modelId="{313E6D5E-04A2-44AB-8843-39E72B073E1A}" srcId="{16CD15F3-1CB0-4475-9A06-68F1305FCF19}" destId="{818B8574-EDE8-47ED-809D-20DA478AB71B}" srcOrd="10" destOrd="0" parTransId="{F72477E8-FD7C-4C06-82E1-6A6344A49411}" sibTransId="{9CBCA0AA-1B88-47A0-BDEC-75F78A14FC33}"/>
    <dgm:cxn modelId="{2962815E-6DE9-4389-A428-A082D21C51B7}" type="presOf" srcId="{7AEE14FD-123D-449A-A3EF-9ECE1A4B664E}" destId="{E6C67A2C-EDEC-47E5-B538-F8926B4DEB2E}" srcOrd="0" destOrd="0" presId="urn:microsoft.com/office/officeart/2005/8/layout/lProcess2"/>
    <dgm:cxn modelId="{D2A41542-F6AE-4381-A4E9-E9B095D1B64A}" type="presOf" srcId="{AE78302B-3463-48F2-8190-686A4610D3DD}" destId="{E02D2D95-1F46-4E4D-BEF7-DE0722C55940}" srcOrd="0" destOrd="0" presId="urn:microsoft.com/office/officeart/2005/8/layout/lProcess2"/>
    <dgm:cxn modelId="{55564862-6A16-41FB-9348-F385AC01FD66}" type="presOf" srcId="{F0D0B441-4F19-4736-848B-43799B822097}" destId="{F0573CE0-C240-498A-9576-DE1D39389325}" srcOrd="0" destOrd="0" presId="urn:microsoft.com/office/officeart/2005/8/layout/lProcess2"/>
    <dgm:cxn modelId="{29798C42-1E4A-4D82-B57A-E1336839E3C7}" srcId="{78597E22-CD1E-4913-B023-8407792BAC0B}" destId="{959C969F-AFAC-4B43-9BBB-5DC815107DA7}" srcOrd="4" destOrd="0" parTransId="{80CBFB41-F09A-41B3-AA3F-8AA564EDA58B}" sibTransId="{96905E6B-6985-44D7-B84F-6216B625C0BB}"/>
    <dgm:cxn modelId="{B754B162-8F72-456C-ACC7-BB1D96C28EE0}" type="presOf" srcId="{F096A25C-14BE-4292-84F0-98C20A1AF41A}" destId="{6784D37E-186C-4942-BA2E-EB238594F702}" srcOrd="0" destOrd="0" presId="urn:microsoft.com/office/officeart/2005/8/layout/lProcess2"/>
    <dgm:cxn modelId="{8E5A9363-DFE4-4C14-975B-84529D0022A3}" srcId="{78597E22-CD1E-4913-B023-8407792BAC0B}" destId="{3D07BCBB-B8A6-4372-967C-C1001B000C54}" srcOrd="2" destOrd="0" parTransId="{11BB0860-149D-4FC2-B9AF-9CBECCC431A4}" sibTransId="{DD315D77-100A-4E28-AE3D-F581802F0892}"/>
    <dgm:cxn modelId="{1994AB44-4158-4F81-A270-489AFA4A270D}" srcId="{8FC6FB74-9ED5-42DC-95FD-9CC399576A32}" destId="{4EBB1E33-2019-4F34-9A50-C31D0B9182C1}" srcOrd="4" destOrd="0" parTransId="{24D2947B-4344-4AAF-81E9-A4EFA555CD4A}" sibTransId="{2EB14861-20F9-4564-8DF9-2BC65EEDDC15}"/>
    <dgm:cxn modelId="{F31DB765-4C36-4EE1-AB16-0AB14E8B945F}" type="presOf" srcId="{E8FD78FD-5A54-49F0-815F-2089A76E37F0}" destId="{4A14AFB8-C18E-40AA-8F96-5A5AEE5141DB}" srcOrd="0" destOrd="0" presId="urn:microsoft.com/office/officeart/2005/8/layout/lProcess2"/>
    <dgm:cxn modelId="{25350146-5718-48C2-8C20-5F39BAA56995}" type="presOf" srcId="{78597E22-CD1E-4913-B023-8407792BAC0B}" destId="{5BE5FCEF-45C6-4AB5-AE3C-29F348612CC2}" srcOrd="1" destOrd="0" presId="urn:microsoft.com/office/officeart/2005/8/layout/lProcess2"/>
    <dgm:cxn modelId="{F2348C69-69D9-4920-9D57-A3C2DE17A6E9}" type="presOf" srcId="{E2FFAD0C-EDC5-4DC1-B64A-3BF9DAA5972C}" destId="{7C4919D9-B3F3-4E5A-B707-5A7C87EE3C50}" srcOrd="0" destOrd="0" presId="urn:microsoft.com/office/officeart/2005/8/layout/lProcess2"/>
    <dgm:cxn modelId="{9A90A569-3E7D-4EA3-B11C-FC70874EF76F}" srcId="{4EBB1E33-2019-4F34-9A50-C31D0B9182C1}" destId="{E2FFAD0C-EDC5-4DC1-B64A-3BF9DAA5972C}" srcOrd="3" destOrd="0" parTransId="{8837C22D-5F3D-4B1C-BC6D-A9DEBA242FBD}" sibTransId="{A8F0536E-9524-4043-9360-323F183673AF}"/>
    <dgm:cxn modelId="{E3412F6A-1CA3-46D2-AAD9-C1DBF03F60A7}" srcId="{78597E22-CD1E-4913-B023-8407792BAC0B}" destId="{21DC3849-B093-450A-9326-27B56D2C64A5}" srcOrd="8" destOrd="0" parTransId="{FF821C1C-15A8-433A-BDA5-4E62050B7A3C}" sibTransId="{8A6BFA00-5158-48F8-BFA6-61C1B3CF2247}"/>
    <dgm:cxn modelId="{203B9C6A-F200-4701-9DBB-38A96D6EF0C8}" type="presOf" srcId="{97521D48-8C08-4056-8E13-756AC21FC966}" destId="{093563BE-4697-4567-89E8-C6E5A97165E2}" srcOrd="0" destOrd="0" presId="urn:microsoft.com/office/officeart/2005/8/layout/lProcess2"/>
    <dgm:cxn modelId="{17C1C94A-720F-4437-AB9C-D4DCBE29D198}" type="presOf" srcId="{16CD15F3-1CB0-4475-9A06-68F1305FCF19}" destId="{42069F8C-00E8-49EF-885A-B7B101C934D3}" srcOrd="1" destOrd="0" presId="urn:microsoft.com/office/officeart/2005/8/layout/lProcess2"/>
    <dgm:cxn modelId="{24B94D4B-69C7-47D0-9832-A8E04FD79001}" type="presOf" srcId="{A358F3CE-56C6-4729-8B5E-167A98523078}" destId="{D47E1101-EA04-49B9-AED1-9F717654D507}" srcOrd="0" destOrd="0" presId="urn:microsoft.com/office/officeart/2005/8/layout/lProcess2"/>
    <dgm:cxn modelId="{03DB1C6C-4D99-4E6A-A0F1-154CCE30BC3C}" type="presOf" srcId="{959C969F-AFAC-4B43-9BBB-5DC815107DA7}" destId="{79A29489-B417-404D-AB58-55CAAAD1AC1A}" srcOrd="0" destOrd="0" presId="urn:microsoft.com/office/officeart/2005/8/layout/lProcess2"/>
    <dgm:cxn modelId="{CA97734D-B5F5-4D89-913A-49A518B9B20A}" type="presOf" srcId="{DDC2383C-16D3-40AE-8595-83CAAB5E013E}" destId="{B821714C-C2F7-4E24-93F1-6F1CA15CDA69}" srcOrd="0" destOrd="0" presId="urn:microsoft.com/office/officeart/2005/8/layout/lProcess2"/>
    <dgm:cxn modelId="{4699A053-B167-4F8E-A445-7E95A69B7674}" type="presOf" srcId="{4EBB1E33-2019-4F34-9A50-C31D0B9182C1}" destId="{558F9E3C-222B-4B61-A2C4-9751FC6E0656}" srcOrd="1" destOrd="0" presId="urn:microsoft.com/office/officeart/2005/8/layout/lProcess2"/>
    <dgm:cxn modelId="{A7DE0776-22D3-48F1-A8C7-18B277844E8E}" srcId="{78597E22-CD1E-4913-B023-8407792BAC0B}" destId="{8720E8D7-B1B7-4DD3-937F-B5C6783C1747}" srcOrd="6" destOrd="0" parTransId="{B5D7E38D-D974-4F21-B83F-DD48EBD59721}" sibTransId="{40324D11-89DC-40D6-8CB9-2177BE0B8CB0}"/>
    <dgm:cxn modelId="{9BE2BF58-4371-42B9-BE01-D64827858AD7}" type="presOf" srcId="{78597E22-CD1E-4913-B023-8407792BAC0B}" destId="{2E85D65D-30EA-4D8E-9A2B-E095221B3924}" srcOrd="0" destOrd="0" presId="urn:microsoft.com/office/officeart/2005/8/layout/lProcess2"/>
    <dgm:cxn modelId="{0B642459-0AD9-4DD8-9D8F-0EFB04C0EE5C}" type="presOf" srcId="{DB3E9935-78B0-4D24-836E-B1A4ADB38642}" destId="{35C7A667-9925-4B5B-A307-3CB9140D7C7F}" srcOrd="0" destOrd="0" presId="urn:microsoft.com/office/officeart/2005/8/layout/lProcess2"/>
    <dgm:cxn modelId="{ED95517C-A53D-4743-92FC-44C0B602F434}" srcId="{16CD15F3-1CB0-4475-9A06-68F1305FCF19}" destId="{B4119E93-4C25-4664-B970-A6590236038F}" srcOrd="13" destOrd="0" parTransId="{2DCC2D1D-F62E-4BD7-96B9-64E491CDC253}" sibTransId="{130BCE21-52E3-4E4F-9EBC-A9C8724D1766}"/>
    <dgm:cxn modelId="{98866E7D-14F7-4859-9775-0C18FD96FCF6}" srcId="{16CD15F3-1CB0-4475-9A06-68F1305FCF19}" destId="{C7F503E1-0F17-4A08-8239-C4B42F21EB7D}" srcOrd="0" destOrd="0" parTransId="{0D0405A2-D495-435B-99BF-DEFB05BB0CFE}" sibTransId="{943DA0E2-8EE8-4B9A-99B1-F6DEAE42F5F2}"/>
    <dgm:cxn modelId="{BE35017E-9413-46D9-8B93-90006911AF1E}" srcId="{4EBB1E33-2019-4F34-9A50-C31D0B9182C1}" destId="{2BC2E6A0-C9CF-45FC-B414-61BDD89FAFAA}" srcOrd="0" destOrd="0" parTransId="{834DA47A-E66A-42E0-8CA6-2B5D9FE19DD8}" sibTransId="{1659EBE4-CBE8-4E3B-AFE4-B3F494F48137}"/>
    <dgm:cxn modelId="{A6E24A7E-AA47-43DA-AB24-3BA2FE8CF78B}" type="presOf" srcId="{90D933D6-ECB2-45C2-A7A0-486834681B4B}" destId="{0A1AAC4D-DC4C-4A0F-BEFD-612774AC9502}" srcOrd="0" destOrd="0" presId="urn:microsoft.com/office/officeart/2005/8/layout/lProcess2"/>
    <dgm:cxn modelId="{2BEF9B80-096F-4BF0-8C63-05CB5CCAB95E}" srcId="{16CD15F3-1CB0-4475-9A06-68F1305FCF19}" destId="{ECD14FD1-50D2-4C59-B8BD-1F37AE79CEA2}" srcOrd="11" destOrd="0" parTransId="{10A6CD82-D705-4791-971C-1B7F8C6C74BC}" sibTransId="{6C22B2DD-66A3-439F-A841-3411B35839F2}"/>
    <dgm:cxn modelId="{28E8FB83-7A79-4B90-8F44-37CA43C08F17}" srcId="{4EBB1E33-2019-4F34-9A50-C31D0B9182C1}" destId="{A358F3CE-56C6-4729-8B5E-167A98523078}" srcOrd="5" destOrd="0" parTransId="{95B15186-CAE1-48FF-BDEE-4FDC7F3591F1}" sibTransId="{525D5404-F090-4D2C-9B92-3D0E8D30A47B}"/>
    <dgm:cxn modelId="{FC68D284-0568-4028-B413-D6A1BEDD7AF9}" srcId="{4EBB1E33-2019-4F34-9A50-C31D0B9182C1}" destId="{FEFEAA95-2AC5-479D-83CA-A5552F4D8A65}" srcOrd="2" destOrd="0" parTransId="{C173834E-84BF-4874-8C6D-A1356A73F5DA}" sibTransId="{B685C022-79CD-46FD-BF32-63688463DD55}"/>
    <dgm:cxn modelId="{73A4588A-95FA-498E-B826-A00DDEF82ED9}" type="presOf" srcId="{479D34F9-B3B6-4337-A41A-172FCFA2B918}" destId="{937B2D49-F9C3-4D9D-82E3-93C31EEAAD63}" srcOrd="0" destOrd="0" presId="urn:microsoft.com/office/officeart/2005/8/layout/lProcess2"/>
    <dgm:cxn modelId="{7F08AF8A-D482-452A-A7C2-64605FABE4C1}" type="presOf" srcId="{71E3FC43-6466-4D86-ADA5-FBE04623D85B}" destId="{F5D7AF6D-6089-4432-BED3-1E6C809AEE19}" srcOrd="0" destOrd="0" presId="urn:microsoft.com/office/officeart/2005/8/layout/lProcess2"/>
    <dgm:cxn modelId="{B7B3B18B-C7BE-468A-87A8-78970BBF014D}" type="presOf" srcId="{21DC3849-B093-450A-9326-27B56D2C64A5}" destId="{6EE4DBFE-51FE-4472-B966-63DBBE0164BE}" srcOrd="0" destOrd="0" presId="urn:microsoft.com/office/officeart/2005/8/layout/lProcess2"/>
    <dgm:cxn modelId="{C757638D-E5F5-4198-83E8-6D3E08A0CEF9}" type="presOf" srcId="{FE89A3E9-EF81-4C90-9005-95977EF388FC}" destId="{F0E64EBB-9957-4F0E-86B6-8DD807B5DE4D}" srcOrd="0" destOrd="0" presId="urn:microsoft.com/office/officeart/2005/8/layout/lProcess2"/>
    <dgm:cxn modelId="{A3BAC192-CEC7-4A81-B34C-13391B50FB74}" srcId="{16CD15F3-1CB0-4475-9A06-68F1305FCF19}" destId="{479D34F9-B3B6-4337-A41A-172FCFA2B918}" srcOrd="5" destOrd="0" parTransId="{E151B627-A9B5-410A-9A24-8D4B5063C917}" sibTransId="{D571C6C0-1F09-4503-8D7E-634F96C419B2}"/>
    <dgm:cxn modelId="{0B306E9B-7D74-40A8-83E4-AB3EF4AF1073}" srcId="{8FC6FB74-9ED5-42DC-95FD-9CC399576A32}" destId="{16CD15F3-1CB0-4475-9A06-68F1305FCF19}" srcOrd="2" destOrd="0" parTransId="{86D04B8C-D676-4BB6-A89F-9B2FC6D902E9}" sibTransId="{CBAFC69A-1F0A-4808-A177-6C1E7EBE3271}"/>
    <dgm:cxn modelId="{11BD259C-2091-4E66-ACAA-E07D14D14095}" type="presOf" srcId="{B81E0E4D-0021-462E-90F4-FF546AA789A7}" destId="{BA2B0C43-3487-4BBB-BFF4-F76C7596047C}" srcOrd="0" destOrd="0" presId="urn:microsoft.com/office/officeart/2005/8/layout/lProcess2"/>
    <dgm:cxn modelId="{E018FE9F-C747-4D19-BF53-9A166F1E7A08}" srcId="{16CD15F3-1CB0-4475-9A06-68F1305FCF19}" destId="{1E499FEC-5F7F-4ACD-A553-EA7CDDC82FCE}" srcOrd="3" destOrd="0" parTransId="{5DA3A6FD-D198-4375-B13B-3D0364AA515B}" sibTransId="{405FD642-2E08-4C46-9D34-318FFC4CB5FA}"/>
    <dgm:cxn modelId="{6C0FE1A1-9D5E-4527-A8EF-0A296E2510AF}" type="presOf" srcId="{133FF2BE-235B-4015-A606-03410D322CC4}" destId="{DB7D4BA6-A3EA-417B-9CDC-ABE69784CC1A}" srcOrd="0" destOrd="0" presId="urn:microsoft.com/office/officeart/2005/8/layout/lProcess2"/>
    <dgm:cxn modelId="{333B40A2-17E8-49C5-A359-AC1A3270D3BC}" srcId="{B1ECF552-BA85-4AC5-A70F-E63E7CD824BB}" destId="{51169079-06D4-4F3A-B03D-9B1802E39645}" srcOrd="4" destOrd="0" parTransId="{D8F182A9-9D9A-4EEB-B9C7-B93E76EA008F}" sibTransId="{B988D107-146B-4CBE-97D1-E5D251188959}"/>
    <dgm:cxn modelId="{7C8207A4-5762-44FD-A258-1562254918AE}" type="presOf" srcId="{B1ECF552-BA85-4AC5-A70F-E63E7CD824BB}" destId="{4DFD3513-F422-4C43-8651-2419B4981D41}" srcOrd="0" destOrd="0" presId="urn:microsoft.com/office/officeart/2005/8/layout/lProcess2"/>
    <dgm:cxn modelId="{C69AF8A4-4AB2-4742-AC40-BAC46F550135}" type="presOf" srcId="{ECD14FD1-50D2-4C59-B8BD-1F37AE79CEA2}" destId="{869D2B7C-CCA5-4B3B-9971-9FE67B67E1D8}" srcOrd="0" destOrd="0" presId="urn:microsoft.com/office/officeart/2005/8/layout/lProcess2"/>
    <dgm:cxn modelId="{625402A5-32B3-4155-B623-8EEAD72BD0C6}" srcId="{4EBB1E33-2019-4F34-9A50-C31D0B9182C1}" destId="{71E3FC43-6466-4D86-ADA5-FBE04623D85B}" srcOrd="4" destOrd="0" parTransId="{2F070F88-A2AD-4F23-AD70-092582A165D3}" sibTransId="{258ED4C5-E544-4E55-81B2-EB434641D3E1}"/>
    <dgm:cxn modelId="{5F06EFAC-C912-46CB-8EC9-8DF12C7FA3DB}" type="presOf" srcId="{AE78302B-3463-48F2-8190-686A4610D3DD}" destId="{1E35E431-D5B2-4C6C-812E-14E5874C7844}" srcOrd="1" destOrd="0" presId="urn:microsoft.com/office/officeart/2005/8/layout/lProcess2"/>
    <dgm:cxn modelId="{F19084B8-82A4-4364-914B-8DED5DD1DAE8}" srcId="{8FC6FB74-9ED5-42DC-95FD-9CC399576A32}" destId="{B1ECF552-BA85-4AC5-A70F-E63E7CD824BB}" srcOrd="3" destOrd="0" parTransId="{D30E3BFB-8974-4133-B72E-69D9C21FF3F5}" sibTransId="{49945783-F91C-4A96-92CE-26360E4A57E8}"/>
    <dgm:cxn modelId="{0F22AAB8-ED6E-43DC-B357-8692C962B0CD}" type="presOf" srcId="{118A6CF7-1D9E-47F5-8CB6-BED171A3A982}" destId="{E4CFA89F-7A3A-4936-9D3E-4B1A91182D3A}" srcOrd="0" destOrd="0" presId="urn:microsoft.com/office/officeart/2005/8/layout/lProcess2"/>
    <dgm:cxn modelId="{899174B9-FA07-4032-BD3D-9125B6803A1F}" srcId="{16CD15F3-1CB0-4475-9A06-68F1305FCF19}" destId="{97521D48-8C08-4056-8E13-756AC21FC966}" srcOrd="4" destOrd="0" parTransId="{5DA84427-AE98-4FAF-9D1E-B8D66B7F917D}" sibTransId="{FDE66E2C-E42A-424C-B836-5BDC7A7B6628}"/>
    <dgm:cxn modelId="{0D16BDB9-E20F-4D45-8B90-B59159F5F59F}" srcId="{78597E22-CD1E-4913-B023-8407792BAC0B}" destId="{0B7F4DF9-28BA-4E5A-B633-5016AFC498D7}" srcOrd="10" destOrd="0" parTransId="{B64EDF26-5E32-4011-BF2E-23D697AE96AF}" sibTransId="{68E8ED2D-EAF6-4A65-BF82-A9B4CE0E6834}"/>
    <dgm:cxn modelId="{78065EC0-2544-44F5-9CB1-98294E3F10F8}" srcId="{78597E22-CD1E-4913-B023-8407792BAC0B}" destId="{E8FD78FD-5A54-49F0-815F-2089A76E37F0}" srcOrd="7" destOrd="0" parTransId="{B587029A-DCB9-43B4-9A6A-F0D83C42D6CB}" sibTransId="{8E1C60E0-1177-4B77-85DE-8A522E634B8B}"/>
    <dgm:cxn modelId="{1D685EC3-6A4D-4C55-99A5-86DD36E609D7}" type="presOf" srcId="{C7F503E1-0F17-4A08-8239-C4B42F21EB7D}" destId="{BE085C00-0B41-4F94-911D-A0645BC8F652}" srcOrd="0" destOrd="0" presId="urn:microsoft.com/office/officeart/2005/8/layout/lProcess2"/>
    <dgm:cxn modelId="{BA4A9CC3-C355-4F7B-8BCB-79A4476D7A91}" type="presOf" srcId="{B4119E93-4C25-4664-B970-A6590236038F}" destId="{0FB32D54-D40E-4FFB-920B-E42B64067195}" srcOrd="0" destOrd="0" presId="urn:microsoft.com/office/officeart/2005/8/layout/lProcess2"/>
    <dgm:cxn modelId="{F1FE07C6-9F51-40BD-8C02-E28EE92773B2}" srcId="{16CD15F3-1CB0-4475-9A06-68F1305FCF19}" destId="{7AEE14FD-123D-449A-A3EF-9ECE1A4B664E}" srcOrd="6" destOrd="0" parTransId="{1EBEE409-1A81-4B91-AF29-15342553B6D8}" sibTransId="{4725A080-E497-46EC-B26A-DD7459CE51D0}"/>
    <dgm:cxn modelId="{263A9DC6-8B8C-475A-BAC6-9BAC3E4A8AC1}" srcId="{16CD15F3-1CB0-4475-9A06-68F1305FCF19}" destId="{6F6AC474-0B5E-47CA-A69F-183EDD24D786}" srcOrd="2" destOrd="0" parTransId="{F31D4D79-976F-4E3A-A9E4-060FC8B08745}" sibTransId="{6E020D28-2B99-45B4-B72F-5E0B224B98ED}"/>
    <dgm:cxn modelId="{B38756C8-0F19-43E7-A69B-327C95A95980}" srcId="{78597E22-CD1E-4913-B023-8407792BAC0B}" destId="{DDC2383C-16D3-40AE-8595-83CAAB5E013E}" srcOrd="1" destOrd="0" parTransId="{D3D51B50-DB00-47F1-B286-DD2B9A3F13A7}" sibTransId="{4DF318FC-0818-434F-BE6D-BE23A78794AD}"/>
    <dgm:cxn modelId="{74BD32C9-25CB-4822-A455-A884CCF73355}" srcId="{B1ECF552-BA85-4AC5-A70F-E63E7CD824BB}" destId="{F0D0B441-4F19-4736-848B-43799B822097}" srcOrd="3" destOrd="0" parTransId="{EFA95D22-DE28-41AA-B6C8-C377FF94C11D}" sibTransId="{F932C3DB-424A-4A83-A57E-C9EAF99E7601}"/>
    <dgm:cxn modelId="{6869D9CA-5092-40A8-A466-C88E4BB41DF0}" srcId="{16CD15F3-1CB0-4475-9A06-68F1305FCF19}" destId="{B81E0E4D-0021-462E-90F4-FF546AA789A7}" srcOrd="12" destOrd="0" parTransId="{C6F4B5F5-95DB-43E5-9698-08A7CF8C57FE}" sibTransId="{A6D36A0F-9DA0-4401-91CB-4348E7A3436F}"/>
    <dgm:cxn modelId="{2D263BCE-E10C-4E7C-8140-25E4C6077138}" srcId="{16CD15F3-1CB0-4475-9A06-68F1305FCF19}" destId="{931E90D5-0C93-488D-801B-FC4B2281C45F}" srcOrd="9" destOrd="0" parTransId="{DC82B4C1-6BD0-43EC-8B70-292FAE582E40}" sibTransId="{9B9FCB00-268F-41E9-B635-8076E5FE1F55}"/>
    <dgm:cxn modelId="{129EEDD5-6944-460E-A02A-25CF20764668}" type="presOf" srcId="{931E90D5-0C93-488D-801B-FC4B2281C45F}" destId="{CCEE2976-9D30-47D7-A314-29DE2BB1BEDE}" srcOrd="0" destOrd="0" presId="urn:microsoft.com/office/officeart/2005/8/layout/lProcess2"/>
    <dgm:cxn modelId="{4214E0D9-FC1C-4D2E-91F4-3381493C2A47}" type="presOf" srcId="{FBE37025-52E7-4EE3-88B8-1FB64353DA56}" destId="{BBA3C476-D826-4D70-A224-197501CD49AC}" srcOrd="0" destOrd="0" presId="urn:microsoft.com/office/officeart/2005/8/layout/lProcess2"/>
    <dgm:cxn modelId="{CE0BC1DE-2B1B-44AB-AF32-0CBE4CAB16A9}" type="presOf" srcId="{B1ECF552-BA85-4AC5-A70F-E63E7CD824BB}" destId="{645B9466-A629-4CC9-B262-75E2C0EDED9C}" srcOrd="1" destOrd="0" presId="urn:microsoft.com/office/officeart/2005/8/layout/lProcess2"/>
    <dgm:cxn modelId="{6AFB7EE0-D4CC-4F75-9549-0B3AAD0B5CEF}" type="presOf" srcId="{2BC2E6A0-C9CF-45FC-B414-61BDD89FAFAA}" destId="{E4371515-9205-4279-A8A4-AF41A7AD6FF4}" srcOrd="0" destOrd="0" presId="urn:microsoft.com/office/officeart/2005/8/layout/lProcess2"/>
    <dgm:cxn modelId="{6C6FC2E5-9ED7-4B45-AA09-D4EBE630F2B5}" type="presOf" srcId="{0B7F4DF9-28BA-4E5A-B633-5016AFC498D7}" destId="{EC810B8E-70A9-4A69-BAE7-A518C270DB39}" srcOrd="0" destOrd="0" presId="urn:microsoft.com/office/officeart/2005/8/layout/lProcess2"/>
    <dgm:cxn modelId="{94F90BEB-347E-4356-97C5-112B14A65F9A}" type="presOf" srcId="{6F6AC474-0B5E-47CA-A69F-183EDD24D786}" destId="{574106B2-D6B0-4D31-B3BC-7F72F984552C}" srcOrd="0" destOrd="0" presId="urn:microsoft.com/office/officeart/2005/8/layout/lProcess2"/>
    <dgm:cxn modelId="{FFE2E5EB-108A-4507-B7BC-FA3D4E56D359}" srcId="{78597E22-CD1E-4913-B023-8407792BAC0B}" destId="{7F9D5C1E-B69F-439B-905E-B1C61E4A5910}" srcOrd="3" destOrd="0" parTransId="{78FA4949-8E45-4B3A-8264-6F99ED8FC875}" sibTransId="{4094C02B-2993-4079-818A-5F4D613A9C92}"/>
    <dgm:cxn modelId="{C2D5CCEC-D0C2-43FB-A18E-B89ECDCB86F6}" srcId="{8FC6FB74-9ED5-42DC-95FD-9CC399576A32}" destId="{78597E22-CD1E-4913-B023-8407792BAC0B}" srcOrd="0" destOrd="0" parTransId="{22B0C887-13FD-45D0-8EF2-E568FE289ECA}" sibTransId="{4355A389-1638-445C-AF6A-6FC56F4F33B2}"/>
    <dgm:cxn modelId="{5A9446EE-935C-4160-AEE6-96822687B117}" type="presOf" srcId="{7F9D5C1E-B69F-439B-905E-B1C61E4A5910}" destId="{463B748B-2F7F-4D6E-B931-2D67C1402F67}" srcOrd="0" destOrd="0" presId="urn:microsoft.com/office/officeart/2005/8/layout/lProcess2"/>
    <dgm:cxn modelId="{AA0B1CF1-91A7-4351-BE33-28E6820D6D77}" type="presOf" srcId="{1E499FEC-5F7F-4ACD-A553-EA7CDDC82FCE}" destId="{EC4465A2-5736-4DAC-91EF-B3CE0BB7B086}" srcOrd="0" destOrd="0" presId="urn:microsoft.com/office/officeart/2005/8/layout/lProcess2"/>
    <dgm:cxn modelId="{7225DCF3-D8B9-4D47-B913-69D37BDB68B4}" srcId="{16CD15F3-1CB0-4475-9A06-68F1305FCF19}" destId="{FBE37025-52E7-4EE3-88B8-1FB64353DA56}" srcOrd="7" destOrd="0" parTransId="{E3FE2FE1-5D9E-4FDF-AB4D-4D698BBD95C3}" sibTransId="{40AB38D9-E160-4C84-A039-29CC2D279D2D}"/>
    <dgm:cxn modelId="{F5D6B7FE-FE2F-49CB-9BA0-4CF2EF7E345D}" srcId="{B1ECF552-BA85-4AC5-A70F-E63E7CD824BB}" destId="{F096A25C-14BE-4292-84F0-98C20A1AF41A}" srcOrd="2" destOrd="0" parTransId="{2817D54C-373D-4A7E-AA62-A2C81013F31C}" sibTransId="{4D0D3CFA-180B-467F-802E-D1C8A5B3B52C}"/>
    <dgm:cxn modelId="{05EEE529-6A1E-4FD8-83F9-881933A72778}" type="presParOf" srcId="{09ECC41F-23EA-4D6C-B8BC-0FFAA4DDEA1A}" destId="{4B9C295D-427C-424D-B5D3-3F2DDF2C6F59}" srcOrd="0" destOrd="0" presId="urn:microsoft.com/office/officeart/2005/8/layout/lProcess2"/>
    <dgm:cxn modelId="{69698396-7B89-46CF-BC64-4EAF32DBDCCD}" type="presParOf" srcId="{4B9C295D-427C-424D-B5D3-3F2DDF2C6F59}" destId="{2E85D65D-30EA-4D8E-9A2B-E095221B3924}" srcOrd="0" destOrd="0" presId="urn:microsoft.com/office/officeart/2005/8/layout/lProcess2"/>
    <dgm:cxn modelId="{C6AAD51F-0086-437B-8D55-DCD4E1CDB3B7}" type="presParOf" srcId="{4B9C295D-427C-424D-B5D3-3F2DDF2C6F59}" destId="{5BE5FCEF-45C6-4AB5-AE3C-29F348612CC2}" srcOrd="1" destOrd="0" presId="urn:microsoft.com/office/officeart/2005/8/layout/lProcess2"/>
    <dgm:cxn modelId="{9529A89B-02F7-4B3E-B8B6-D788F51F0AA4}" type="presParOf" srcId="{4B9C295D-427C-424D-B5D3-3F2DDF2C6F59}" destId="{604C2CE6-C9F9-4AF7-B79C-B690CD335AA8}" srcOrd="2" destOrd="0" presId="urn:microsoft.com/office/officeart/2005/8/layout/lProcess2"/>
    <dgm:cxn modelId="{A9E4DDFD-4873-42A7-8CD5-809B820FA0AA}" type="presParOf" srcId="{604C2CE6-C9F9-4AF7-B79C-B690CD335AA8}" destId="{F055CAFD-F1B5-49BD-8CAD-D7FCF24DE8AE}" srcOrd="0" destOrd="0" presId="urn:microsoft.com/office/officeart/2005/8/layout/lProcess2"/>
    <dgm:cxn modelId="{A831CCB0-63CF-4A31-9E65-B7725B6DBAE7}" type="presParOf" srcId="{F055CAFD-F1B5-49BD-8CAD-D7FCF24DE8AE}" destId="{263F5FE6-C856-4AEF-BBD6-7B234484455B}" srcOrd="0" destOrd="0" presId="urn:microsoft.com/office/officeart/2005/8/layout/lProcess2"/>
    <dgm:cxn modelId="{81BDDAB2-2CB0-42BA-B012-34AF832C355E}" type="presParOf" srcId="{F055CAFD-F1B5-49BD-8CAD-D7FCF24DE8AE}" destId="{864C85E4-C609-4BA6-963F-955F870D2D2E}" srcOrd="1" destOrd="0" presId="urn:microsoft.com/office/officeart/2005/8/layout/lProcess2"/>
    <dgm:cxn modelId="{4F500A81-1AA5-4C5E-BEAB-AFEDF4EBED0C}" type="presParOf" srcId="{F055CAFD-F1B5-49BD-8CAD-D7FCF24DE8AE}" destId="{B821714C-C2F7-4E24-93F1-6F1CA15CDA69}" srcOrd="2" destOrd="0" presId="urn:microsoft.com/office/officeart/2005/8/layout/lProcess2"/>
    <dgm:cxn modelId="{E35B73C2-B1DA-4E3A-A31B-F1AB55E134E8}" type="presParOf" srcId="{F055CAFD-F1B5-49BD-8CAD-D7FCF24DE8AE}" destId="{1C471E6E-7656-489A-ADE1-25753447FC23}" srcOrd="3" destOrd="0" presId="urn:microsoft.com/office/officeart/2005/8/layout/lProcess2"/>
    <dgm:cxn modelId="{BA697137-29F4-40A1-9EA1-091C6147D8FD}" type="presParOf" srcId="{F055CAFD-F1B5-49BD-8CAD-D7FCF24DE8AE}" destId="{930B01D6-F00C-40EF-87CD-2BE633A1649D}" srcOrd="4" destOrd="0" presId="urn:microsoft.com/office/officeart/2005/8/layout/lProcess2"/>
    <dgm:cxn modelId="{20AC89FA-6900-48BB-B896-37BE3C3FCC09}" type="presParOf" srcId="{F055CAFD-F1B5-49BD-8CAD-D7FCF24DE8AE}" destId="{885466DB-8773-469B-91E2-777841F415E9}" srcOrd="5" destOrd="0" presId="urn:microsoft.com/office/officeart/2005/8/layout/lProcess2"/>
    <dgm:cxn modelId="{D394B873-B98C-4A5F-87BA-31C071C27822}" type="presParOf" srcId="{F055CAFD-F1B5-49BD-8CAD-D7FCF24DE8AE}" destId="{463B748B-2F7F-4D6E-B931-2D67C1402F67}" srcOrd="6" destOrd="0" presId="urn:microsoft.com/office/officeart/2005/8/layout/lProcess2"/>
    <dgm:cxn modelId="{3AB5BA4F-B0CD-4ED0-A732-37021F1C18E3}" type="presParOf" srcId="{F055CAFD-F1B5-49BD-8CAD-D7FCF24DE8AE}" destId="{BAD818CF-7820-42E6-AD90-9EBAA1798293}" srcOrd="7" destOrd="0" presId="urn:microsoft.com/office/officeart/2005/8/layout/lProcess2"/>
    <dgm:cxn modelId="{62741C87-DBA3-4932-905D-613271FB5FC3}" type="presParOf" srcId="{F055CAFD-F1B5-49BD-8CAD-D7FCF24DE8AE}" destId="{79A29489-B417-404D-AB58-55CAAAD1AC1A}" srcOrd="8" destOrd="0" presId="urn:microsoft.com/office/officeart/2005/8/layout/lProcess2"/>
    <dgm:cxn modelId="{D26D0B94-4FF4-4D90-B2BA-6F6269010F29}" type="presParOf" srcId="{F055CAFD-F1B5-49BD-8CAD-D7FCF24DE8AE}" destId="{5D0DD2E0-71F6-4D88-A3FC-524859B72F32}" srcOrd="9" destOrd="0" presId="urn:microsoft.com/office/officeart/2005/8/layout/lProcess2"/>
    <dgm:cxn modelId="{4A5FC75B-5942-46BC-96B8-23506B68E1CC}" type="presParOf" srcId="{F055CAFD-F1B5-49BD-8CAD-D7FCF24DE8AE}" destId="{D6147051-3FE1-413F-B05F-021A8CDB0F34}" srcOrd="10" destOrd="0" presId="urn:microsoft.com/office/officeart/2005/8/layout/lProcess2"/>
    <dgm:cxn modelId="{B6F6E6B6-A7CD-4284-A967-BC7C112673D8}" type="presParOf" srcId="{F055CAFD-F1B5-49BD-8CAD-D7FCF24DE8AE}" destId="{D2015BC5-E229-4D9A-8021-65756CEC2199}" srcOrd="11" destOrd="0" presId="urn:microsoft.com/office/officeart/2005/8/layout/lProcess2"/>
    <dgm:cxn modelId="{467FA2F3-B198-4C99-B4AD-50D273DEB894}" type="presParOf" srcId="{F055CAFD-F1B5-49BD-8CAD-D7FCF24DE8AE}" destId="{CA242BD1-826D-4405-A4BF-795C56AB112A}" srcOrd="12" destOrd="0" presId="urn:microsoft.com/office/officeart/2005/8/layout/lProcess2"/>
    <dgm:cxn modelId="{B6CCA01D-F4AF-4594-A84B-B9343DE2BFA5}" type="presParOf" srcId="{F055CAFD-F1B5-49BD-8CAD-D7FCF24DE8AE}" destId="{A1AFBCAE-8C36-4672-A3B5-D0C3A7F44AEE}" srcOrd="13" destOrd="0" presId="urn:microsoft.com/office/officeart/2005/8/layout/lProcess2"/>
    <dgm:cxn modelId="{CBF84382-0556-4C84-8D82-A5A1B4256059}" type="presParOf" srcId="{F055CAFD-F1B5-49BD-8CAD-D7FCF24DE8AE}" destId="{4A14AFB8-C18E-40AA-8F96-5A5AEE5141DB}" srcOrd="14" destOrd="0" presId="urn:microsoft.com/office/officeart/2005/8/layout/lProcess2"/>
    <dgm:cxn modelId="{5A41DD95-38BD-4119-9692-F21B3A9B798C}" type="presParOf" srcId="{F055CAFD-F1B5-49BD-8CAD-D7FCF24DE8AE}" destId="{1AC81A47-E4E4-465A-A645-8D70C360C3C5}" srcOrd="15" destOrd="0" presId="urn:microsoft.com/office/officeart/2005/8/layout/lProcess2"/>
    <dgm:cxn modelId="{56C27594-EC9D-4CCC-BFAB-665E77BDD33E}" type="presParOf" srcId="{F055CAFD-F1B5-49BD-8CAD-D7FCF24DE8AE}" destId="{6EE4DBFE-51FE-4472-B966-63DBBE0164BE}" srcOrd="16" destOrd="0" presId="urn:microsoft.com/office/officeart/2005/8/layout/lProcess2"/>
    <dgm:cxn modelId="{6425825D-3C0F-4643-A996-9E278632B42F}" type="presParOf" srcId="{F055CAFD-F1B5-49BD-8CAD-D7FCF24DE8AE}" destId="{84FC7600-B79D-4184-ADEB-4C4358B18D66}" srcOrd="17" destOrd="0" presId="urn:microsoft.com/office/officeart/2005/8/layout/lProcess2"/>
    <dgm:cxn modelId="{3B2443E7-66FB-4AF4-A08E-6ADA861CC40A}" type="presParOf" srcId="{F055CAFD-F1B5-49BD-8CAD-D7FCF24DE8AE}" destId="{D6EF6592-A73E-4684-83CD-997A0BA41A8C}" srcOrd="18" destOrd="0" presId="urn:microsoft.com/office/officeart/2005/8/layout/lProcess2"/>
    <dgm:cxn modelId="{33BE4971-BCA0-4411-BB3C-19205DDF5179}" type="presParOf" srcId="{F055CAFD-F1B5-49BD-8CAD-D7FCF24DE8AE}" destId="{1B9A2EB2-F00C-4F44-B42E-AD12EE8FFF49}" srcOrd="19" destOrd="0" presId="urn:microsoft.com/office/officeart/2005/8/layout/lProcess2"/>
    <dgm:cxn modelId="{C9651CD4-E6C2-4F59-B034-916510E7EC84}" type="presParOf" srcId="{F055CAFD-F1B5-49BD-8CAD-D7FCF24DE8AE}" destId="{EC810B8E-70A9-4A69-BAE7-A518C270DB39}" srcOrd="20" destOrd="0" presId="urn:microsoft.com/office/officeart/2005/8/layout/lProcess2"/>
    <dgm:cxn modelId="{5C0F40F4-840F-4F36-B46F-05CD28A46773}" type="presParOf" srcId="{F055CAFD-F1B5-49BD-8CAD-D7FCF24DE8AE}" destId="{330C7145-05EE-4AD4-945B-F71F70E451FC}" srcOrd="21" destOrd="0" presId="urn:microsoft.com/office/officeart/2005/8/layout/lProcess2"/>
    <dgm:cxn modelId="{4B37295C-2513-472F-AC1F-A9400D4A77DF}" type="presParOf" srcId="{F055CAFD-F1B5-49BD-8CAD-D7FCF24DE8AE}" destId="{DB7D4BA6-A3EA-417B-9CDC-ABE69784CC1A}" srcOrd="22" destOrd="0" presId="urn:microsoft.com/office/officeart/2005/8/layout/lProcess2"/>
    <dgm:cxn modelId="{C90F163D-3244-4979-B2C4-582377D267D3}" type="presParOf" srcId="{F055CAFD-F1B5-49BD-8CAD-D7FCF24DE8AE}" destId="{F6B12539-2EF2-4014-82CE-F261D0C4850E}" srcOrd="23" destOrd="0" presId="urn:microsoft.com/office/officeart/2005/8/layout/lProcess2"/>
    <dgm:cxn modelId="{C1F1D01A-FA07-4496-8835-E0F48596F193}" type="presParOf" srcId="{F055CAFD-F1B5-49BD-8CAD-D7FCF24DE8AE}" destId="{0A1AAC4D-DC4C-4A0F-BEFD-612774AC9502}" srcOrd="24" destOrd="0" presId="urn:microsoft.com/office/officeart/2005/8/layout/lProcess2"/>
    <dgm:cxn modelId="{61FE344D-313B-4DFA-8D7E-9FFB4D3CE9CE}" type="presParOf" srcId="{F055CAFD-F1B5-49BD-8CAD-D7FCF24DE8AE}" destId="{5CA11F01-E48E-4232-B516-8DC1DFC22EBB}" srcOrd="25" destOrd="0" presId="urn:microsoft.com/office/officeart/2005/8/layout/lProcess2"/>
    <dgm:cxn modelId="{FCE4A706-EBA5-41D8-BFB8-88231161E01C}" type="presParOf" srcId="{F055CAFD-F1B5-49BD-8CAD-D7FCF24DE8AE}" destId="{F0E64EBB-9957-4F0E-86B6-8DD807B5DE4D}" srcOrd="26" destOrd="0" presId="urn:microsoft.com/office/officeart/2005/8/layout/lProcess2"/>
    <dgm:cxn modelId="{61824C91-4E26-4545-87D1-F46F266290EC}" type="presParOf" srcId="{09ECC41F-23EA-4D6C-B8BC-0FFAA4DDEA1A}" destId="{42B74002-53E7-469D-B167-384DFCBC5C4E}" srcOrd="1" destOrd="0" presId="urn:microsoft.com/office/officeart/2005/8/layout/lProcess2"/>
    <dgm:cxn modelId="{642FC0E9-9680-4052-860E-DFA4ADAE4A4A}" type="presParOf" srcId="{09ECC41F-23EA-4D6C-B8BC-0FFAA4DDEA1A}" destId="{042C4574-CFAF-4481-B605-838B95BCC269}" srcOrd="2" destOrd="0" presId="urn:microsoft.com/office/officeart/2005/8/layout/lProcess2"/>
    <dgm:cxn modelId="{03B341FE-7D99-4641-8426-158B57A3A750}" type="presParOf" srcId="{042C4574-CFAF-4481-B605-838B95BCC269}" destId="{E02D2D95-1F46-4E4D-BEF7-DE0722C55940}" srcOrd="0" destOrd="0" presId="urn:microsoft.com/office/officeart/2005/8/layout/lProcess2"/>
    <dgm:cxn modelId="{CDA6700B-6FCB-4AC6-AD96-F92D965F487D}" type="presParOf" srcId="{042C4574-CFAF-4481-B605-838B95BCC269}" destId="{1E35E431-D5B2-4C6C-812E-14E5874C7844}" srcOrd="1" destOrd="0" presId="urn:microsoft.com/office/officeart/2005/8/layout/lProcess2"/>
    <dgm:cxn modelId="{A80D9635-3FAF-4C78-8356-8ED2FA185C50}" type="presParOf" srcId="{042C4574-CFAF-4481-B605-838B95BCC269}" destId="{1E68809E-C899-4D07-B549-0AEED92E75B5}" srcOrd="2" destOrd="0" presId="urn:microsoft.com/office/officeart/2005/8/layout/lProcess2"/>
    <dgm:cxn modelId="{C7A90938-097C-420F-855B-D44DD2248A3C}" type="presParOf" srcId="{1E68809E-C899-4D07-B549-0AEED92E75B5}" destId="{F215C096-492B-45F3-AB10-A06FFC22894E}" srcOrd="0" destOrd="0" presId="urn:microsoft.com/office/officeart/2005/8/layout/lProcess2"/>
    <dgm:cxn modelId="{E2FE19DC-8508-4B5E-B514-96E0115874A6}" type="presParOf" srcId="{09ECC41F-23EA-4D6C-B8BC-0FFAA4DDEA1A}" destId="{170EC44E-D5D7-447C-9064-E259ADC31D23}" srcOrd="3" destOrd="0" presId="urn:microsoft.com/office/officeart/2005/8/layout/lProcess2"/>
    <dgm:cxn modelId="{B56C92BC-12DC-4F90-80D6-D10D409DF786}" type="presParOf" srcId="{09ECC41F-23EA-4D6C-B8BC-0FFAA4DDEA1A}" destId="{383A4CE9-F30B-481A-AC20-B5C27567BB0C}" srcOrd="4" destOrd="0" presId="urn:microsoft.com/office/officeart/2005/8/layout/lProcess2"/>
    <dgm:cxn modelId="{D018DB72-6DB8-4F81-ABE4-962328F52897}" type="presParOf" srcId="{383A4CE9-F30B-481A-AC20-B5C27567BB0C}" destId="{D18E730F-999E-466E-8DC4-788E6101E64A}" srcOrd="0" destOrd="0" presId="urn:microsoft.com/office/officeart/2005/8/layout/lProcess2"/>
    <dgm:cxn modelId="{282735CF-5B80-4F16-9807-7329C1C807A2}" type="presParOf" srcId="{383A4CE9-F30B-481A-AC20-B5C27567BB0C}" destId="{42069F8C-00E8-49EF-885A-B7B101C934D3}" srcOrd="1" destOrd="0" presId="urn:microsoft.com/office/officeart/2005/8/layout/lProcess2"/>
    <dgm:cxn modelId="{05BCF28C-75AA-4371-9091-B3E7E2C9C9AD}" type="presParOf" srcId="{383A4CE9-F30B-481A-AC20-B5C27567BB0C}" destId="{C3DA01EA-3D80-4049-8871-5B7DEB2DE91C}" srcOrd="2" destOrd="0" presId="urn:microsoft.com/office/officeart/2005/8/layout/lProcess2"/>
    <dgm:cxn modelId="{41AC2795-F1A4-4440-BCE5-F35487B16073}" type="presParOf" srcId="{C3DA01EA-3D80-4049-8871-5B7DEB2DE91C}" destId="{3C27F487-5D83-4413-90FE-85D1BF0DFC72}" srcOrd="0" destOrd="0" presId="urn:microsoft.com/office/officeart/2005/8/layout/lProcess2"/>
    <dgm:cxn modelId="{65696AD2-11F1-45E6-8B0C-E6C5CD487641}" type="presParOf" srcId="{3C27F487-5D83-4413-90FE-85D1BF0DFC72}" destId="{BE085C00-0B41-4F94-911D-A0645BC8F652}" srcOrd="0" destOrd="0" presId="urn:microsoft.com/office/officeart/2005/8/layout/lProcess2"/>
    <dgm:cxn modelId="{08B282B6-0757-4C8C-B622-50B37FCF012C}" type="presParOf" srcId="{3C27F487-5D83-4413-90FE-85D1BF0DFC72}" destId="{1DC01CF5-CD6E-49C5-871B-704445CD9B52}" srcOrd="1" destOrd="0" presId="urn:microsoft.com/office/officeart/2005/8/layout/lProcess2"/>
    <dgm:cxn modelId="{383DAADD-C270-487C-BBB1-9CD108DA9012}" type="presParOf" srcId="{3C27F487-5D83-4413-90FE-85D1BF0DFC72}" destId="{E4CFA89F-7A3A-4936-9D3E-4B1A91182D3A}" srcOrd="2" destOrd="0" presId="urn:microsoft.com/office/officeart/2005/8/layout/lProcess2"/>
    <dgm:cxn modelId="{432B95A1-93BF-41B8-B1F9-8F638F8C2A88}" type="presParOf" srcId="{3C27F487-5D83-4413-90FE-85D1BF0DFC72}" destId="{4F7A6CAD-40A1-494C-B089-A64C3465AFA8}" srcOrd="3" destOrd="0" presId="urn:microsoft.com/office/officeart/2005/8/layout/lProcess2"/>
    <dgm:cxn modelId="{1DEB6FE7-20A5-43E2-A214-D28AF6203211}" type="presParOf" srcId="{3C27F487-5D83-4413-90FE-85D1BF0DFC72}" destId="{574106B2-D6B0-4D31-B3BC-7F72F984552C}" srcOrd="4" destOrd="0" presId="urn:microsoft.com/office/officeart/2005/8/layout/lProcess2"/>
    <dgm:cxn modelId="{FEF678B6-5E25-4F25-AA3D-4655D85C9BA6}" type="presParOf" srcId="{3C27F487-5D83-4413-90FE-85D1BF0DFC72}" destId="{51BAC666-E949-4CF7-83F3-F51C3F491CAD}" srcOrd="5" destOrd="0" presId="urn:microsoft.com/office/officeart/2005/8/layout/lProcess2"/>
    <dgm:cxn modelId="{820ECA56-2D40-4ABF-A78B-876791943613}" type="presParOf" srcId="{3C27F487-5D83-4413-90FE-85D1BF0DFC72}" destId="{EC4465A2-5736-4DAC-91EF-B3CE0BB7B086}" srcOrd="6" destOrd="0" presId="urn:microsoft.com/office/officeart/2005/8/layout/lProcess2"/>
    <dgm:cxn modelId="{0535C5B9-30B8-4C6E-A0D9-44C3395415F7}" type="presParOf" srcId="{3C27F487-5D83-4413-90FE-85D1BF0DFC72}" destId="{1C2ED76A-8151-45A8-9517-38F613615203}" srcOrd="7" destOrd="0" presId="urn:microsoft.com/office/officeart/2005/8/layout/lProcess2"/>
    <dgm:cxn modelId="{037BAB69-50C4-4AE9-9E95-F69CF81A6327}" type="presParOf" srcId="{3C27F487-5D83-4413-90FE-85D1BF0DFC72}" destId="{093563BE-4697-4567-89E8-C6E5A97165E2}" srcOrd="8" destOrd="0" presId="urn:microsoft.com/office/officeart/2005/8/layout/lProcess2"/>
    <dgm:cxn modelId="{E40723F7-A401-495D-AC8C-4D114CB2CDDB}" type="presParOf" srcId="{3C27F487-5D83-4413-90FE-85D1BF0DFC72}" destId="{CA3E2290-6C32-4883-A92F-E5D71A7601AD}" srcOrd="9" destOrd="0" presId="urn:microsoft.com/office/officeart/2005/8/layout/lProcess2"/>
    <dgm:cxn modelId="{B4E2F9CD-A140-4594-B01D-8EB930C68396}" type="presParOf" srcId="{3C27F487-5D83-4413-90FE-85D1BF0DFC72}" destId="{937B2D49-F9C3-4D9D-82E3-93C31EEAAD63}" srcOrd="10" destOrd="0" presId="urn:microsoft.com/office/officeart/2005/8/layout/lProcess2"/>
    <dgm:cxn modelId="{EB0EE1E4-65E9-4ACB-8D6A-D5D1AFFDCEC7}" type="presParOf" srcId="{3C27F487-5D83-4413-90FE-85D1BF0DFC72}" destId="{8E2D954E-A60B-4D63-A2CB-4B77A04813BA}" srcOrd="11" destOrd="0" presId="urn:microsoft.com/office/officeart/2005/8/layout/lProcess2"/>
    <dgm:cxn modelId="{8F4649A9-89CB-4DFD-B6D0-0DDE81F9D4DA}" type="presParOf" srcId="{3C27F487-5D83-4413-90FE-85D1BF0DFC72}" destId="{E6C67A2C-EDEC-47E5-B538-F8926B4DEB2E}" srcOrd="12" destOrd="0" presId="urn:microsoft.com/office/officeart/2005/8/layout/lProcess2"/>
    <dgm:cxn modelId="{A6EED150-C22A-4C9E-889F-AEEBC2987A1D}" type="presParOf" srcId="{3C27F487-5D83-4413-90FE-85D1BF0DFC72}" destId="{F51BE5C8-6994-4475-A8D1-02BF739AD36A}" srcOrd="13" destOrd="0" presId="urn:microsoft.com/office/officeart/2005/8/layout/lProcess2"/>
    <dgm:cxn modelId="{8D7B2C86-B765-428B-9E36-37E4535D41C5}" type="presParOf" srcId="{3C27F487-5D83-4413-90FE-85D1BF0DFC72}" destId="{BBA3C476-D826-4D70-A224-197501CD49AC}" srcOrd="14" destOrd="0" presId="urn:microsoft.com/office/officeart/2005/8/layout/lProcess2"/>
    <dgm:cxn modelId="{0BB20280-1EAF-4E23-89DE-D5DB5EBC9EA8}" type="presParOf" srcId="{3C27F487-5D83-4413-90FE-85D1BF0DFC72}" destId="{ED13FE91-C3C8-41FF-9DEA-020347E87FBB}" srcOrd="15" destOrd="0" presId="urn:microsoft.com/office/officeart/2005/8/layout/lProcess2"/>
    <dgm:cxn modelId="{89F1255E-8825-4DE4-8F16-9F1349666345}" type="presParOf" srcId="{3C27F487-5D83-4413-90FE-85D1BF0DFC72}" destId="{84DD0C19-AB1E-4CC3-B569-659F2ED18600}" srcOrd="16" destOrd="0" presId="urn:microsoft.com/office/officeart/2005/8/layout/lProcess2"/>
    <dgm:cxn modelId="{1E7FE9CC-3300-4E54-A68D-A2DCF9F1B5ED}" type="presParOf" srcId="{3C27F487-5D83-4413-90FE-85D1BF0DFC72}" destId="{52547F40-48C7-4FDD-B85E-E0BD5DC588CF}" srcOrd="17" destOrd="0" presId="urn:microsoft.com/office/officeart/2005/8/layout/lProcess2"/>
    <dgm:cxn modelId="{C526E09E-7E37-4FAE-87A3-D572D6B04EAB}" type="presParOf" srcId="{3C27F487-5D83-4413-90FE-85D1BF0DFC72}" destId="{CCEE2976-9D30-47D7-A314-29DE2BB1BEDE}" srcOrd="18" destOrd="0" presId="urn:microsoft.com/office/officeart/2005/8/layout/lProcess2"/>
    <dgm:cxn modelId="{62C29E3C-736A-41ED-930F-E2B1A9415473}" type="presParOf" srcId="{3C27F487-5D83-4413-90FE-85D1BF0DFC72}" destId="{DDD1138F-A87A-4A28-A898-61A66260ED56}" srcOrd="19" destOrd="0" presId="urn:microsoft.com/office/officeart/2005/8/layout/lProcess2"/>
    <dgm:cxn modelId="{50491542-44F5-4753-91CA-7A2FF0728EFA}" type="presParOf" srcId="{3C27F487-5D83-4413-90FE-85D1BF0DFC72}" destId="{0158873E-7EBE-4F58-A1D9-06BBDF91AB2F}" srcOrd="20" destOrd="0" presId="urn:microsoft.com/office/officeart/2005/8/layout/lProcess2"/>
    <dgm:cxn modelId="{4546B555-43FD-4237-814F-0381E600692D}" type="presParOf" srcId="{3C27F487-5D83-4413-90FE-85D1BF0DFC72}" destId="{6181434A-300C-47B2-B4F0-2A5A4FBE6D4F}" srcOrd="21" destOrd="0" presId="urn:microsoft.com/office/officeart/2005/8/layout/lProcess2"/>
    <dgm:cxn modelId="{C1D208F3-E1F8-4BE6-8FAD-A3C855A73D4B}" type="presParOf" srcId="{3C27F487-5D83-4413-90FE-85D1BF0DFC72}" destId="{869D2B7C-CCA5-4B3B-9971-9FE67B67E1D8}" srcOrd="22" destOrd="0" presId="urn:microsoft.com/office/officeart/2005/8/layout/lProcess2"/>
    <dgm:cxn modelId="{B2FAF164-E9B6-4DA6-AA3F-736D7394FB75}" type="presParOf" srcId="{3C27F487-5D83-4413-90FE-85D1BF0DFC72}" destId="{E0AEDB01-2DC7-4493-9A0C-E704F8595665}" srcOrd="23" destOrd="0" presId="urn:microsoft.com/office/officeart/2005/8/layout/lProcess2"/>
    <dgm:cxn modelId="{83CC0B99-54ED-4AD5-A634-038B86DD2CCA}" type="presParOf" srcId="{3C27F487-5D83-4413-90FE-85D1BF0DFC72}" destId="{BA2B0C43-3487-4BBB-BFF4-F76C7596047C}" srcOrd="24" destOrd="0" presId="urn:microsoft.com/office/officeart/2005/8/layout/lProcess2"/>
    <dgm:cxn modelId="{8D879F4F-F534-4963-94FE-1E5A9F37391E}" type="presParOf" srcId="{3C27F487-5D83-4413-90FE-85D1BF0DFC72}" destId="{FDB26091-163C-4697-B295-3EC6AABC74B5}" srcOrd="25" destOrd="0" presId="urn:microsoft.com/office/officeart/2005/8/layout/lProcess2"/>
    <dgm:cxn modelId="{ECDD34E8-07B0-4F03-A3DA-AF864E6E4B7F}" type="presParOf" srcId="{3C27F487-5D83-4413-90FE-85D1BF0DFC72}" destId="{0FB32D54-D40E-4FFB-920B-E42B64067195}" srcOrd="26" destOrd="0" presId="urn:microsoft.com/office/officeart/2005/8/layout/lProcess2"/>
    <dgm:cxn modelId="{4016CD49-CD46-4B08-A852-2168DD25FA92}" type="presParOf" srcId="{09ECC41F-23EA-4D6C-B8BC-0FFAA4DDEA1A}" destId="{FA1D11EE-1D66-4A35-B5FC-55FD86C7811B}" srcOrd="5" destOrd="0" presId="urn:microsoft.com/office/officeart/2005/8/layout/lProcess2"/>
    <dgm:cxn modelId="{8689B4D2-B936-413E-A810-95DB2A479D05}" type="presParOf" srcId="{09ECC41F-23EA-4D6C-B8BC-0FFAA4DDEA1A}" destId="{00B39A80-8B15-41F7-85EE-32F54933BE2F}" srcOrd="6" destOrd="0" presId="urn:microsoft.com/office/officeart/2005/8/layout/lProcess2"/>
    <dgm:cxn modelId="{03DCD97F-5C04-4625-93F8-E225C94992F7}" type="presParOf" srcId="{00B39A80-8B15-41F7-85EE-32F54933BE2F}" destId="{4DFD3513-F422-4C43-8651-2419B4981D41}" srcOrd="0" destOrd="0" presId="urn:microsoft.com/office/officeart/2005/8/layout/lProcess2"/>
    <dgm:cxn modelId="{72984FD5-3A24-433A-8E2A-70378EF0ED58}" type="presParOf" srcId="{00B39A80-8B15-41F7-85EE-32F54933BE2F}" destId="{645B9466-A629-4CC9-B262-75E2C0EDED9C}" srcOrd="1" destOrd="0" presId="urn:microsoft.com/office/officeart/2005/8/layout/lProcess2"/>
    <dgm:cxn modelId="{A9803FE4-F059-4119-953E-C0CCBFCF9A03}" type="presParOf" srcId="{00B39A80-8B15-41F7-85EE-32F54933BE2F}" destId="{17D8352B-016D-47C0-B059-662899A80E87}" srcOrd="2" destOrd="0" presId="urn:microsoft.com/office/officeart/2005/8/layout/lProcess2"/>
    <dgm:cxn modelId="{274C8AC7-BDCF-45C9-A6E1-61259574F192}" type="presParOf" srcId="{17D8352B-016D-47C0-B059-662899A80E87}" destId="{BE10C209-C842-4185-8EF7-8F237B9B5F92}" srcOrd="0" destOrd="0" presId="urn:microsoft.com/office/officeart/2005/8/layout/lProcess2"/>
    <dgm:cxn modelId="{E634CA16-EF8D-4656-9900-ACAD82B8AD57}" type="presParOf" srcId="{BE10C209-C842-4185-8EF7-8F237B9B5F92}" destId="{D6F41F54-485C-41A3-B314-643D54248090}" srcOrd="0" destOrd="0" presId="urn:microsoft.com/office/officeart/2005/8/layout/lProcess2"/>
    <dgm:cxn modelId="{65D2B096-A8E4-42EF-95D0-7C5F3ED3852D}" type="presParOf" srcId="{BE10C209-C842-4185-8EF7-8F237B9B5F92}" destId="{96298BBF-7CF3-46DC-8A77-83CE0A6261F2}" srcOrd="1" destOrd="0" presId="urn:microsoft.com/office/officeart/2005/8/layout/lProcess2"/>
    <dgm:cxn modelId="{D19C97BC-B8BB-4906-913F-4DDA0D5BABB8}" type="presParOf" srcId="{BE10C209-C842-4185-8EF7-8F237B9B5F92}" destId="{BEE98AEB-C86F-4642-B4C8-DBD2930BE388}" srcOrd="2" destOrd="0" presId="urn:microsoft.com/office/officeart/2005/8/layout/lProcess2"/>
    <dgm:cxn modelId="{A315CC75-CDF3-45E9-8C20-5E8AEEFD441A}" type="presParOf" srcId="{BE10C209-C842-4185-8EF7-8F237B9B5F92}" destId="{079C6E0F-3E31-409A-A147-BF62C785A617}" srcOrd="3" destOrd="0" presId="urn:microsoft.com/office/officeart/2005/8/layout/lProcess2"/>
    <dgm:cxn modelId="{B2FAF5F1-0470-466D-A865-751CA91157EC}" type="presParOf" srcId="{BE10C209-C842-4185-8EF7-8F237B9B5F92}" destId="{6784D37E-186C-4942-BA2E-EB238594F702}" srcOrd="4" destOrd="0" presId="urn:microsoft.com/office/officeart/2005/8/layout/lProcess2"/>
    <dgm:cxn modelId="{D1BB621C-0AB9-4BA9-8B0B-B30C020C853C}" type="presParOf" srcId="{BE10C209-C842-4185-8EF7-8F237B9B5F92}" destId="{38C8793C-14B2-42B2-A731-0F24F5A482CB}" srcOrd="5" destOrd="0" presId="urn:microsoft.com/office/officeart/2005/8/layout/lProcess2"/>
    <dgm:cxn modelId="{CFE00481-8F11-413F-8FFD-0173A13C9C09}" type="presParOf" srcId="{BE10C209-C842-4185-8EF7-8F237B9B5F92}" destId="{F0573CE0-C240-498A-9576-DE1D39389325}" srcOrd="6" destOrd="0" presId="urn:microsoft.com/office/officeart/2005/8/layout/lProcess2"/>
    <dgm:cxn modelId="{EAC39C47-BD4C-4E6A-9E9A-7E0722EA3DEF}" type="presParOf" srcId="{BE10C209-C842-4185-8EF7-8F237B9B5F92}" destId="{B10C04E5-3994-4AD1-B025-44F0A54DD0FD}" srcOrd="7" destOrd="0" presId="urn:microsoft.com/office/officeart/2005/8/layout/lProcess2"/>
    <dgm:cxn modelId="{8FD8E3B0-B8AD-47D6-AFCE-A88BC5792724}" type="presParOf" srcId="{BE10C209-C842-4185-8EF7-8F237B9B5F92}" destId="{60B438C9-E20C-49D6-92F6-908198A94788}" srcOrd="8" destOrd="0" presId="urn:microsoft.com/office/officeart/2005/8/layout/lProcess2"/>
    <dgm:cxn modelId="{9751DB0F-FAA6-4E01-9BD6-57E9F15AFDF2}" type="presParOf" srcId="{09ECC41F-23EA-4D6C-B8BC-0FFAA4DDEA1A}" destId="{60634E92-94BE-4C0C-9D4D-4A9CA9A3EF1D}" srcOrd="7" destOrd="0" presId="urn:microsoft.com/office/officeart/2005/8/layout/lProcess2"/>
    <dgm:cxn modelId="{1605EB01-0C55-4368-A84F-49608E73B529}" type="presParOf" srcId="{09ECC41F-23EA-4D6C-B8BC-0FFAA4DDEA1A}" destId="{DAA58E4F-95EE-4CD1-9510-C68348DBDA82}" srcOrd="8" destOrd="0" presId="urn:microsoft.com/office/officeart/2005/8/layout/lProcess2"/>
    <dgm:cxn modelId="{15CA1EC0-57A7-44CB-A946-02FDE907E644}" type="presParOf" srcId="{DAA58E4F-95EE-4CD1-9510-C68348DBDA82}" destId="{1BA5F8EF-479F-4E12-8832-70B9F83354CB}" srcOrd="0" destOrd="0" presId="urn:microsoft.com/office/officeart/2005/8/layout/lProcess2"/>
    <dgm:cxn modelId="{21CD0802-C4A8-474B-9765-FA27461396BC}" type="presParOf" srcId="{DAA58E4F-95EE-4CD1-9510-C68348DBDA82}" destId="{558F9E3C-222B-4B61-A2C4-9751FC6E0656}" srcOrd="1" destOrd="0" presId="urn:microsoft.com/office/officeart/2005/8/layout/lProcess2"/>
    <dgm:cxn modelId="{17CFE203-785E-4D34-91A1-E9D594097627}" type="presParOf" srcId="{DAA58E4F-95EE-4CD1-9510-C68348DBDA82}" destId="{B102E20B-C2F3-4B9E-8042-918A2F0EA697}" srcOrd="2" destOrd="0" presId="urn:microsoft.com/office/officeart/2005/8/layout/lProcess2"/>
    <dgm:cxn modelId="{A7CD5531-59DA-4A2F-89BB-2C250DAEDA44}" type="presParOf" srcId="{B102E20B-C2F3-4B9E-8042-918A2F0EA697}" destId="{616AC692-7D51-4A8A-BE2D-352A50B4D1DB}" srcOrd="0" destOrd="0" presId="urn:microsoft.com/office/officeart/2005/8/layout/lProcess2"/>
    <dgm:cxn modelId="{E912783E-DBF8-4043-A83F-21B3BFB2417F}" type="presParOf" srcId="{616AC692-7D51-4A8A-BE2D-352A50B4D1DB}" destId="{E4371515-9205-4279-A8A4-AF41A7AD6FF4}" srcOrd="0" destOrd="0" presId="urn:microsoft.com/office/officeart/2005/8/layout/lProcess2"/>
    <dgm:cxn modelId="{E97B60A3-4E20-4CE2-84E7-E4050AA3A943}" type="presParOf" srcId="{616AC692-7D51-4A8A-BE2D-352A50B4D1DB}" destId="{88ABAA53-949F-41AE-A578-5BC00E4575BE}" srcOrd="1" destOrd="0" presId="urn:microsoft.com/office/officeart/2005/8/layout/lProcess2"/>
    <dgm:cxn modelId="{AAD48DAA-205B-429F-8ADA-F0B3B70A871F}" type="presParOf" srcId="{616AC692-7D51-4A8A-BE2D-352A50B4D1DB}" destId="{35C7A667-9925-4B5B-A307-3CB9140D7C7F}" srcOrd="2" destOrd="0" presId="urn:microsoft.com/office/officeart/2005/8/layout/lProcess2"/>
    <dgm:cxn modelId="{27D1F353-89C5-4A1E-B5B1-1A049179F690}" type="presParOf" srcId="{616AC692-7D51-4A8A-BE2D-352A50B4D1DB}" destId="{55958233-B780-4C2C-8351-EC2AC6390CE4}" srcOrd="3" destOrd="0" presId="urn:microsoft.com/office/officeart/2005/8/layout/lProcess2"/>
    <dgm:cxn modelId="{E251ADF6-2DAE-4ED2-B9F1-DD9D55029D6B}" type="presParOf" srcId="{616AC692-7D51-4A8A-BE2D-352A50B4D1DB}" destId="{2767FEF0-2885-481A-8CD6-1C614743BBB5}" srcOrd="4" destOrd="0" presId="urn:microsoft.com/office/officeart/2005/8/layout/lProcess2"/>
    <dgm:cxn modelId="{482C41D0-F2E5-4706-AA6B-6D639BD41443}" type="presParOf" srcId="{616AC692-7D51-4A8A-BE2D-352A50B4D1DB}" destId="{56EEF8EA-EB9B-45D3-BC1C-24CF160D6561}" srcOrd="5" destOrd="0" presId="urn:microsoft.com/office/officeart/2005/8/layout/lProcess2"/>
    <dgm:cxn modelId="{CC1E6FA1-0445-4C4F-A72B-501667C612A4}" type="presParOf" srcId="{616AC692-7D51-4A8A-BE2D-352A50B4D1DB}" destId="{7C4919D9-B3F3-4E5A-B707-5A7C87EE3C50}" srcOrd="6" destOrd="0" presId="urn:microsoft.com/office/officeart/2005/8/layout/lProcess2"/>
    <dgm:cxn modelId="{9E9A2283-72E0-4C53-862C-64FC4402E699}" type="presParOf" srcId="{616AC692-7D51-4A8A-BE2D-352A50B4D1DB}" destId="{6F858105-C724-4A0A-A81D-C96974347059}" srcOrd="7" destOrd="0" presId="urn:microsoft.com/office/officeart/2005/8/layout/lProcess2"/>
    <dgm:cxn modelId="{CA6B4FB9-98AB-4C18-8403-C5CADFD889D3}" type="presParOf" srcId="{616AC692-7D51-4A8A-BE2D-352A50B4D1DB}" destId="{F5D7AF6D-6089-4432-BED3-1E6C809AEE19}" srcOrd="8" destOrd="0" presId="urn:microsoft.com/office/officeart/2005/8/layout/lProcess2"/>
    <dgm:cxn modelId="{3E04CD2C-6F30-4296-BCA4-F601A41D68F8}" type="presParOf" srcId="{616AC692-7D51-4A8A-BE2D-352A50B4D1DB}" destId="{D6E90D02-01FC-48DA-A2CE-9356CABDF85B}" srcOrd="9" destOrd="0" presId="urn:microsoft.com/office/officeart/2005/8/layout/lProcess2"/>
    <dgm:cxn modelId="{44211B1F-5D7D-4BF5-9E44-92C285C4E49D}" type="presParOf" srcId="{616AC692-7D51-4A8A-BE2D-352A50B4D1DB}" destId="{D47E1101-EA04-49B9-AED1-9F717654D507}" srcOrd="10" destOrd="0" presId="urn:microsoft.com/office/officeart/2005/8/layout/lProcess2"/>
  </dgm:cxnLst>
  <dgm:bg>
    <a:solidFill>
      <a:schemeClr val="bg1">
        <a:lumMod val="85000"/>
      </a:schemeClr>
    </a:solidFill>
  </dgm:bg>
  <dgm:whole>
    <a:ln w="31750"/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EC692D1-2617-4626-AEFF-46C69C0ECB0A}">
      <dsp:nvSpPr>
        <dsp:cNvPr id="0" name=""/>
        <dsp:cNvSpPr/>
      </dsp:nvSpPr>
      <dsp:spPr>
        <a:xfrm>
          <a:off x="3683000" y="0"/>
          <a:ext cx="1473200" cy="862855"/>
        </a:xfrm>
        <a:prstGeom prst="trapezoid">
          <a:avLst>
            <a:gd name="adj" fmla="val 85368"/>
          </a:avLst>
        </a:prstGeom>
        <a:solidFill>
          <a:srgbClr val="FD67DD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ts val="1000"/>
            </a:lnSpc>
            <a:spcBef>
              <a:spcPct val="0"/>
            </a:spcBef>
            <a:spcAft>
              <a:spcPts val="0"/>
            </a:spcAft>
            <a:buNone/>
          </a:pPr>
          <a:r>
            <a:rPr lang="lt-LT" sz="1200" kern="1200" dirty="0"/>
            <a:t>PASI</a:t>
          </a:r>
        </a:p>
        <a:p>
          <a:pPr marL="0" lvl="0" indent="0" algn="ctr" defTabSz="533400">
            <a:lnSpc>
              <a:spcPts val="1000"/>
            </a:lnSpc>
            <a:spcBef>
              <a:spcPct val="0"/>
            </a:spcBef>
            <a:spcAft>
              <a:spcPts val="0"/>
            </a:spcAft>
            <a:buNone/>
          </a:pPr>
          <a:r>
            <a:rPr lang="lt-LT" sz="1200" kern="1200" dirty="0"/>
            <a:t>RINKIMAS</a:t>
          </a:r>
        </a:p>
      </dsp:txBody>
      <dsp:txXfrm>
        <a:off x="3683000" y="0"/>
        <a:ext cx="1473200" cy="862855"/>
      </dsp:txXfrm>
    </dsp:sp>
    <dsp:sp modelId="{2E9E3CD5-9944-4B65-9134-D5A685BB6351}">
      <dsp:nvSpPr>
        <dsp:cNvPr id="0" name=""/>
        <dsp:cNvSpPr/>
      </dsp:nvSpPr>
      <dsp:spPr>
        <a:xfrm>
          <a:off x="2946399" y="862855"/>
          <a:ext cx="2946400" cy="862855"/>
        </a:xfrm>
        <a:prstGeom prst="trapezoid">
          <a:avLst>
            <a:gd name="adj" fmla="val 85368"/>
          </a:avLst>
        </a:prstGeom>
        <a:solidFill>
          <a:srgbClr val="6FEFF5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lt-LT" sz="2200" kern="1200"/>
            <a:t>PSICHIKOS MODELIAVIMAS</a:t>
          </a:r>
        </a:p>
      </dsp:txBody>
      <dsp:txXfrm>
        <a:off x="3462020" y="862855"/>
        <a:ext cx="1915160" cy="862855"/>
      </dsp:txXfrm>
    </dsp:sp>
    <dsp:sp modelId="{0257565C-2429-451C-8E32-7B75BD7AD227}">
      <dsp:nvSpPr>
        <dsp:cNvPr id="0" name=""/>
        <dsp:cNvSpPr/>
      </dsp:nvSpPr>
      <dsp:spPr>
        <a:xfrm>
          <a:off x="2209800" y="1725711"/>
          <a:ext cx="4419600" cy="862855"/>
        </a:xfrm>
        <a:prstGeom prst="trapezoid">
          <a:avLst>
            <a:gd name="adj" fmla="val 85368"/>
          </a:avLst>
        </a:prstGeom>
        <a:solidFill>
          <a:srgbClr val="2AEE4B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lt-LT" sz="1400" kern="1200" dirty="0"/>
            <a:t>SOCIALINIAI POREIKIAI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lt-LT" sz="1400" kern="1200" dirty="0"/>
            <a:t>Gyvūnų sugrupavimas ir laikymas atsižvelgiant į rūšinius poreikius</a:t>
          </a:r>
        </a:p>
      </dsp:txBody>
      <dsp:txXfrm>
        <a:off x="2983229" y="1725711"/>
        <a:ext cx="2872740" cy="862855"/>
      </dsp:txXfrm>
    </dsp:sp>
    <dsp:sp modelId="{62AD9D23-E9D4-415E-8ACB-507EAC684C3E}">
      <dsp:nvSpPr>
        <dsp:cNvPr id="0" name=""/>
        <dsp:cNvSpPr/>
      </dsp:nvSpPr>
      <dsp:spPr>
        <a:xfrm>
          <a:off x="1473199" y="2588567"/>
          <a:ext cx="5892800" cy="862855"/>
        </a:xfrm>
        <a:prstGeom prst="trapezoid">
          <a:avLst>
            <a:gd name="adj" fmla="val 85368"/>
          </a:avLst>
        </a:prstGeom>
        <a:solidFill>
          <a:srgbClr val="FFFF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lt-LT" sz="1600" kern="1200" dirty="0"/>
            <a:t>SAUGUMO POREIKIAI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lt-LT" sz="1600" kern="1200" dirty="0"/>
            <a:t>Tinkama kiekvienai gyvūnų rūšiai pritaikyta, nekelianti pavojaus aplinka</a:t>
          </a:r>
        </a:p>
      </dsp:txBody>
      <dsp:txXfrm>
        <a:off x="2504439" y="2588567"/>
        <a:ext cx="3830320" cy="862855"/>
      </dsp:txXfrm>
    </dsp:sp>
    <dsp:sp modelId="{3D9BD269-10B9-4DBA-9CDE-461DAE6F5DD0}">
      <dsp:nvSpPr>
        <dsp:cNvPr id="0" name=""/>
        <dsp:cNvSpPr/>
      </dsp:nvSpPr>
      <dsp:spPr>
        <a:xfrm>
          <a:off x="736599" y="3451423"/>
          <a:ext cx="7366000" cy="862855"/>
        </a:xfrm>
        <a:prstGeom prst="trapezoid">
          <a:avLst>
            <a:gd name="adj" fmla="val 85368"/>
          </a:avLst>
        </a:prstGeom>
        <a:solidFill>
          <a:schemeClr val="accent4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lt-LT" sz="1600" kern="1200" dirty="0">
              <a:solidFill>
                <a:schemeClr val="bg1"/>
              </a:solidFill>
            </a:rPr>
            <a:t>VETERINARINĖ PRIEŽIŪRA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lt-LT" sz="1600" kern="1200" dirty="0">
              <a:solidFill>
                <a:schemeClr val="bg1"/>
              </a:solidFill>
            </a:rPr>
            <a:t>Ligų </a:t>
          </a:r>
          <a:r>
            <a:rPr lang="lt-LT" sz="1600" kern="1200" dirty="0" err="1">
              <a:solidFill>
                <a:schemeClr val="bg1"/>
              </a:solidFill>
            </a:rPr>
            <a:t>išvengiamumas</a:t>
          </a:r>
          <a:r>
            <a:rPr lang="lt-LT" sz="1600" kern="1200" dirty="0">
              <a:solidFill>
                <a:schemeClr val="bg1"/>
              </a:solidFill>
            </a:rPr>
            <a:t>, sužeidimų rizikos mažinimas, tinkamas šėrimas, svorio kontrolė</a:t>
          </a:r>
        </a:p>
      </dsp:txBody>
      <dsp:txXfrm>
        <a:off x="2025649" y="3451423"/>
        <a:ext cx="4787900" cy="862855"/>
      </dsp:txXfrm>
    </dsp:sp>
    <dsp:sp modelId="{C01E4A5B-19C2-47E2-AACB-D966F5CED0A6}">
      <dsp:nvSpPr>
        <dsp:cNvPr id="0" name=""/>
        <dsp:cNvSpPr/>
      </dsp:nvSpPr>
      <dsp:spPr>
        <a:xfrm>
          <a:off x="0" y="4314279"/>
          <a:ext cx="8839200" cy="862855"/>
        </a:xfrm>
        <a:prstGeom prst="trapezoid">
          <a:avLst>
            <a:gd name="adj" fmla="val 85368"/>
          </a:avLst>
        </a:prstGeom>
        <a:solidFill>
          <a:srgbClr val="FF0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lt-LT" sz="1600" kern="1200" dirty="0">
              <a:solidFill>
                <a:schemeClr val="bg1"/>
              </a:solidFill>
            </a:rPr>
            <a:t>FIZINIAI POREIKIAI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lt-LT" sz="1600" kern="1200" dirty="0">
              <a:solidFill>
                <a:schemeClr val="bg1"/>
              </a:solidFill>
            </a:rPr>
            <a:t>Pastogė, švarus vanduo, pašaras, sanitarinės gyvenimo sąlygos</a:t>
          </a:r>
        </a:p>
      </dsp:txBody>
      <dsp:txXfrm>
        <a:off x="1546859" y="4314279"/>
        <a:ext cx="5745480" cy="86285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E85D65D-30EA-4D8E-9A2B-E095221B3924}">
      <dsp:nvSpPr>
        <dsp:cNvPr id="0" name=""/>
        <dsp:cNvSpPr/>
      </dsp:nvSpPr>
      <dsp:spPr>
        <a:xfrm>
          <a:off x="119935" y="338109"/>
          <a:ext cx="2924257" cy="5903695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lt-LT" sz="1900" b="1" kern="1200"/>
            <a:t>Potencialus gyvūnų aplinkos dirgiklis</a:t>
          </a:r>
        </a:p>
      </dsp:txBody>
      <dsp:txXfrm>
        <a:off x="119935" y="338109"/>
        <a:ext cx="2924257" cy="1771108"/>
      </dsp:txXfrm>
    </dsp:sp>
    <dsp:sp modelId="{263F5FE6-C856-4AEF-BBD6-7B234484455B}">
      <dsp:nvSpPr>
        <dsp:cNvPr id="0" name=""/>
        <dsp:cNvSpPr/>
      </dsp:nvSpPr>
      <dsp:spPr>
        <a:xfrm>
          <a:off x="242133" y="1940859"/>
          <a:ext cx="2667494" cy="706363"/>
        </a:xfrm>
        <a:prstGeom prst="roundRect">
          <a:avLst>
            <a:gd name="adj" fmla="val 10000"/>
          </a:avLst>
        </a:prstGeom>
        <a:solidFill>
          <a:srgbClr val="FFFFCC"/>
        </a:solidFill>
        <a:ln>
          <a:solidFill>
            <a:srgbClr val="FFFF00"/>
          </a:solidFill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0480" tIns="22860" rIns="30480" bIns="2286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lt-LT" sz="1200" kern="1200" dirty="0"/>
            <a:t>Gyvenamosios aplinkos sudėtinių dalių ir įvairovės (buveinės kokybės) sumažėjimas</a:t>
          </a:r>
        </a:p>
      </dsp:txBody>
      <dsp:txXfrm>
        <a:off x="262822" y="1961548"/>
        <a:ext cx="2626116" cy="664985"/>
      </dsp:txXfrm>
    </dsp:sp>
    <dsp:sp modelId="{B821714C-C2F7-4E24-93F1-6F1CA15CDA69}">
      <dsp:nvSpPr>
        <dsp:cNvPr id="0" name=""/>
        <dsp:cNvSpPr/>
      </dsp:nvSpPr>
      <dsp:spPr>
        <a:xfrm>
          <a:off x="242133" y="2687408"/>
          <a:ext cx="2667494" cy="231865"/>
        </a:xfrm>
        <a:prstGeom prst="roundRect">
          <a:avLst>
            <a:gd name="adj" fmla="val 10000"/>
          </a:avLst>
        </a:prstGeom>
        <a:solidFill>
          <a:srgbClr val="FFFFCC"/>
        </a:solidFill>
        <a:ln>
          <a:solidFill>
            <a:srgbClr val="FFFF00"/>
          </a:solidFill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0480" tIns="22860" rIns="30480" bIns="2286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lt-LT" sz="1200" kern="1200" dirty="0"/>
            <a:t>Klimato pokytis</a:t>
          </a:r>
        </a:p>
      </dsp:txBody>
      <dsp:txXfrm>
        <a:off x="248924" y="2694199"/>
        <a:ext cx="2653912" cy="218283"/>
      </dsp:txXfrm>
    </dsp:sp>
    <dsp:sp modelId="{930B01D6-F00C-40EF-87CD-2BE633A1649D}">
      <dsp:nvSpPr>
        <dsp:cNvPr id="0" name=""/>
        <dsp:cNvSpPr/>
      </dsp:nvSpPr>
      <dsp:spPr>
        <a:xfrm>
          <a:off x="242133" y="2954945"/>
          <a:ext cx="2667494" cy="231865"/>
        </a:xfrm>
        <a:prstGeom prst="roundRect">
          <a:avLst>
            <a:gd name="adj" fmla="val 10000"/>
          </a:avLst>
        </a:prstGeom>
        <a:solidFill>
          <a:srgbClr val="FFFFCC"/>
        </a:solidFill>
        <a:ln>
          <a:solidFill>
            <a:srgbClr val="FFFF00"/>
          </a:solidFill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0480" tIns="22860" rIns="30480" bIns="2286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lt-LT" sz="1200" kern="1200" dirty="0"/>
            <a:t>Triukšmas</a:t>
          </a:r>
        </a:p>
      </dsp:txBody>
      <dsp:txXfrm>
        <a:off x="248924" y="2961736"/>
        <a:ext cx="2653912" cy="218283"/>
      </dsp:txXfrm>
    </dsp:sp>
    <dsp:sp modelId="{463B748B-2F7F-4D6E-B931-2D67C1402F67}">
      <dsp:nvSpPr>
        <dsp:cNvPr id="0" name=""/>
        <dsp:cNvSpPr/>
      </dsp:nvSpPr>
      <dsp:spPr>
        <a:xfrm>
          <a:off x="242133" y="3222483"/>
          <a:ext cx="2667494" cy="231865"/>
        </a:xfrm>
        <a:prstGeom prst="roundRect">
          <a:avLst>
            <a:gd name="adj" fmla="val 10000"/>
          </a:avLst>
        </a:prstGeom>
        <a:solidFill>
          <a:srgbClr val="FFFFCC"/>
        </a:solidFill>
        <a:ln>
          <a:solidFill>
            <a:srgbClr val="FFFF00"/>
          </a:solidFill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0480" tIns="22860" rIns="30480" bIns="2286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lt-LT" sz="1200" kern="1200" dirty="0"/>
            <a:t>Šviesa</a:t>
          </a:r>
        </a:p>
      </dsp:txBody>
      <dsp:txXfrm>
        <a:off x="248924" y="3229274"/>
        <a:ext cx="2653912" cy="218283"/>
      </dsp:txXfrm>
    </dsp:sp>
    <dsp:sp modelId="{79A29489-B417-404D-AB58-55CAAAD1AC1A}">
      <dsp:nvSpPr>
        <dsp:cNvPr id="0" name=""/>
        <dsp:cNvSpPr/>
      </dsp:nvSpPr>
      <dsp:spPr>
        <a:xfrm>
          <a:off x="242133" y="3490020"/>
          <a:ext cx="2667494" cy="231865"/>
        </a:xfrm>
        <a:prstGeom prst="roundRect">
          <a:avLst>
            <a:gd name="adj" fmla="val 10000"/>
          </a:avLst>
        </a:prstGeom>
        <a:solidFill>
          <a:srgbClr val="FFFFCC"/>
        </a:solidFill>
        <a:ln>
          <a:solidFill>
            <a:srgbClr val="FFFF00"/>
          </a:solidFill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0480" tIns="22860" rIns="30480" bIns="2286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lt-LT" sz="1200" kern="1200" dirty="0"/>
            <a:t>Tarša</a:t>
          </a:r>
        </a:p>
      </dsp:txBody>
      <dsp:txXfrm>
        <a:off x="248924" y="3496811"/>
        <a:ext cx="2653912" cy="218283"/>
      </dsp:txXfrm>
    </dsp:sp>
    <dsp:sp modelId="{D6147051-3FE1-413F-B05F-021A8CDB0F34}">
      <dsp:nvSpPr>
        <dsp:cNvPr id="0" name=""/>
        <dsp:cNvSpPr/>
      </dsp:nvSpPr>
      <dsp:spPr>
        <a:xfrm>
          <a:off x="242133" y="3757558"/>
          <a:ext cx="2667494" cy="231865"/>
        </a:xfrm>
        <a:prstGeom prst="roundRect">
          <a:avLst>
            <a:gd name="adj" fmla="val 10000"/>
          </a:avLst>
        </a:prstGeom>
        <a:solidFill>
          <a:srgbClr val="FFFFCC"/>
        </a:solidFill>
        <a:ln>
          <a:solidFill>
            <a:srgbClr val="FFFF00"/>
          </a:solidFill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0480" tIns="22860" rIns="30480" bIns="2286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lt-LT" sz="1200" kern="1200" dirty="0"/>
            <a:t>Konkurentai</a:t>
          </a:r>
        </a:p>
      </dsp:txBody>
      <dsp:txXfrm>
        <a:off x="248924" y="3764349"/>
        <a:ext cx="2653912" cy="218283"/>
      </dsp:txXfrm>
    </dsp:sp>
    <dsp:sp modelId="{CA242BD1-826D-4405-A4BF-795C56AB112A}">
      <dsp:nvSpPr>
        <dsp:cNvPr id="0" name=""/>
        <dsp:cNvSpPr/>
      </dsp:nvSpPr>
      <dsp:spPr>
        <a:xfrm>
          <a:off x="242133" y="4025095"/>
          <a:ext cx="2667494" cy="231865"/>
        </a:xfrm>
        <a:prstGeom prst="roundRect">
          <a:avLst>
            <a:gd name="adj" fmla="val 10000"/>
          </a:avLst>
        </a:prstGeom>
        <a:solidFill>
          <a:srgbClr val="FFFFCC"/>
        </a:solidFill>
        <a:ln>
          <a:solidFill>
            <a:srgbClr val="FFFF00"/>
          </a:solidFill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0480" tIns="22860" rIns="30480" bIns="2286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lt-LT" sz="1200" kern="1200" dirty="0"/>
            <a:t>Plėšrūnai</a:t>
          </a:r>
        </a:p>
      </dsp:txBody>
      <dsp:txXfrm>
        <a:off x="248924" y="4031886"/>
        <a:ext cx="2653912" cy="218283"/>
      </dsp:txXfrm>
    </dsp:sp>
    <dsp:sp modelId="{4A14AFB8-C18E-40AA-8F96-5A5AEE5141DB}">
      <dsp:nvSpPr>
        <dsp:cNvPr id="0" name=""/>
        <dsp:cNvSpPr/>
      </dsp:nvSpPr>
      <dsp:spPr>
        <a:xfrm>
          <a:off x="242133" y="4292633"/>
          <a:ext cx="2667494" cy="231865"/>
        </a:xfrm>
        <a:prstGeom prst="roundRect">
          <a:avLst>
            <a:gd name="adj" fmla="val 10000"/>
          </a:avLst>
        </a:prstGeom>
        <a:solidFill>
          <a:srgbClr val="FFFFCC"/>
        </a:solidFill>
        <a:ln>
          <a:solidFill>
            <a:srgbClr val="FFFF00"/>
          </a:solidFill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0480" tIns="22860" rIns="30480" bIns="2286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lt-LT" sz="1200" kern="1200" dirty="0"/>
            <a:t>Populiacijos tankis</a:t>
          </a:r>
        </a:p>
      </dsp:txBody>
      <dsp:txXfrm>
        <a:off x="248924" y="4299424"/>
        <a:ext cx="2653912" cy="218283"/>
      </dsp:txXfrm>
    </dsp:sp>
    <dsp:sp modelId="{6EE4DBFE-51FE-4472-B966-63DBBE0164BE}">
      <dsp:nvSpPr>
        <dsp:cNvPr id="0" name=""/>
        <dsp:cNvSpPr/>
      </dsp:nvSpPr>
      <dsp:spPr>
        <a:xfrm>
          <a:off x="242133" y="4560171"/>
          <a:ext cx="2667494" cy="231865"/>
        </a:xfrm>
        <a:prstGeom prst="roundRect">
          <a:avLst>
            <a:gd name="adj" fmla="val 10000"/>
          </a:avLst>
        </a:prstGeom>
        <a:solidFill>
          <a:srgbClr val="FFFFCC"/>
        </a:solidFill>
        <a:ln>
          <a:solidFill>
            <a:srgbClr val="FFFF00"/>
          </a:solidFill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0480" tIns="22860" rIns="30480" bIns="2286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lt-LT" sz="1200" kern="1200" dirty="0"/>
            <a:t>Santykių nestabilumas</a:t>
          </a:r>
        </a:p>
      </dsp:txBody>
      <dsp:txXfrm>
        <a:off x="248924" y="4566962"/>
        <a:ext cx="2653912" cy="218283"/>
      </dsp:txXfrm>
    </dsp:sp>
    <dsp:sp modelId="{D6EF6592-A73E-4684-83CD-997A0BA41A8C}">
      <dsp:nvSpPr>
        <dsp:cNvPr id="0" name=""/>
        <dsp:cNvSpPr/>
      </dsp:nvSpPr>
      <dsp:spPr>
        <a:xfrm>
          <a:off x="242133" y="4827708"/>
          <a:ext cx="2667494" cy="231865"/>
        </a:xfrm>
        <a:prstGeom prst="roundRect">
          <a:avLst>
            <a:gd name="adj" fmla="val 10000"/>
          </a:avLst>
        </a:prstGeom>
        <a:solidFill>
          <a:srgbClr val="FFFFCC"/>
        </a:solidFill>
        <a:ln>
          <a:solidFill>
            <a:srgbClr val="FFFF00"/>
          </a:solidFill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0480" tIns="22860" rIns="30480" bIns="2286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lt-LT" sz="1200" kern="1200" dirty="0"/>
            <a:t>Nenatūrali grupės sudėtis</a:t>
          </a:r>
        </a:p>
      </dsp:txBody>
      <dsp:txXfrm>
        <a:off x="248924" y="4834499"/>
        <a:ext cx="2653912" cy="218283"/>
      </dsp:txXfrm>
    </dsp:sp>
    <dsp:sp modelId="{EC810B8E-70A9-4A69-BAE7-A518C270DB39}">
      <dsp:nvSpPr>
        <dsp:cNvPr id="0" name=""/>
        <dsp:cNvSpPr/>
      </dsp:nvSpPr>
      <dsp:spPr>
        <a:xfrm>
          <a:off x="242133" y="5095246"/>
          <a:ext cx="2667494" cy="231865"/>
        </a:xfrm>
        <a:prstGeom prst="roundRect">
          <a:avLst>
            <a:gd name="adj" fmla="val 10000"/>
          </a:avLst>
        </a:prstGeom>
        <a:solidFill>
          <a:srgbClr val="FFFFCC"/>
        </a:solidFill>
        <a:ln>
          <a:solidFill>
            <a:srgbClr val="FFFF00"/>
          </a:solidFill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0480" tIns="22860" rIns="30480" bIns="2286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lt-LT" sz="1200" kern="1200" dirty="0"/>
            <a:t>Sąveika su įsibrovėliais</a:t>
          </a:r>
        </a:p>
      </dsp:txBody>
      <dsp:txXfrm>
        <a:off x="248924" y="5102037"/>
        <a:ext cx="2653912" cy="218283"/>
      </dsp:txXfrm>
    </dsp:sp>
    <dsp:sp modelId="{DB7D4BA6-A3EA-417B-9CDC-ABE69784CC1A}">
      <dsp:nvSpPr>
        <dsp:cNvPr id="0" name=""/>
        <dsp:cNvSpPr/>
      </dsp:nvSpPr>
      <dsp:spPr>
        <a:xfrm>
          <a:off x="242133" y="5362783"/>
          <a:ext cx="2667494" cy="231865"/>
        </a:xfrm>
        <a:prstGeom prst="roundRect">
          <a:avLst>
            <a:gd name="adj" fmla="val 10000"/>
          </a:avLst>
        </a:prstGeom>
        <a:solidFill>
          <a:srgbClr val="FFFFCC"/>
        </a:solidFill>
        <a:ln>
          <a:solidFill>
            <a:srgbClr val="FFFF00"/>
          </a:solidFill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0480" tIns="22860" rIns="30480" bIns="2286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lt-LT" sz="1200" kern="1200" dirty="0"/>
            <a:t>Palikuonių atsivedimas</a:t>
          </a:r>
        </a:p>
      </dsp:txBody>
      <dsp:txXfrm>
        <a:off x="248924" y="5369574"/>
        <a:ext cx="2653912" cy="218283"/>
      </dsp:txXfrm>
    </dsp:sp>
    <dsp:sp modelId="{0A1AAC4D-DC4C-4A0F-BEFD-612774AC9502}">
      <dsp:nvSpPr>
        <dsp:cNvPr id="0" name=""/>
        <dsp:cNvSpPr/>
      </dsp:nvSpPr>
      <dsp:spPr>
        <a:xfrm>
          <a:off x="242133" y="5630321"/>
          <a:ext cx="2667494" cy="231865"/>
        </a:xfrm>
        <a:prstGeom prst="roundRect">
          <a:avLst>
            <a:gd name="adj" fmla="val 10000"/>
          </a:avLst>
        </a:prstGeom>
        <a:solidFill>
          <a:srgbClr val="FFFFCC"/>
        </a:solidFill>
        <a:ln>
          <a:solidFill>
            <a:srgbClr val="FFFF00"/>
          </a:solidFill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0480" tIns="22860" rIns="30480" bIns="2286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lt-LT" sz="1200" kern="1200" dirty="0"/>
            <a:t>Transportavimas</a:t>
          </a:r>
        </a:p>
      </dsp:txBody>
      <dsp:txXfrm>
        <a:off x="248924" y="5637112"/>
        <a:ext cx="2653912" cy="218283"/>
      </dsp:txXfrm>
    </dsp:sp>
    <dsp:sp modelId="{F0E64EBB-9957-4F0E-86B6-8DD807B5DE4D}">
      <dsp:nvSpPr>
        <dsp:cNvPr id="0" name=""/>
        <dsp:cNvSpPr/>
      </dsp:nvSpPr>
      <dsp:spPr>
        <a:xfrm>
          <a:off x="242133" y="5897858"/>
          <a:ext cx="2667494" cy="231865"/>
        </a:xfrm>
        <a:prstGeom prst="roundRect">
          <a:avLst>
            <a:gd name="adj" fmla="val 10000"/>
          </a:avLst>
        </a:prstGeom>
        <a:solidFill>
          <a:srgbClr val="FFFFCC"/>
        </a:solidFill>
        <a:ln>
          <a:solidFill>
            <a:srgbClr val="FFFF00"/>
          </a:solidFill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5560" tIns="26670" rIns="35560" bIns="2667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lt-LT" sz="1400" kern="1200" dirty="0"/>
            <a:t>Dresūra, tvarkos palaikymas</a:t>
          </a:r>
        </a:p>
      </dsp:txBody>
      <dsp:txXfrm>
        <a:off x="248924" y="5904649"/>
        <a:ext cx="2653912" cy="218283"/>
      </dsp:txXfrm>
    </dsp:sp>
    <dsp:sp modelId="{E02D2D95-1F46-4E4D-BEF7-DE0722C55940}">
      <dsp:nvSpPr>
        <dsp:cNvPr id="0" name=""/>
        <dsp:cNvSpPr/>
      </dsp:nvSpPr>
      <dsp:spPr>
        <a:xfrm>
          <a:off x="3027264" y="0"/>
          <a:ext cx="1329800" cy="6450011"/>
        </a:xfrm>
        <a:prstGeom prst="roundRect">
          <a:avLst>
            <a:gd name="adj" fmla="val 10000"/>
          </a:avLst>
        </a:prstGeom>
        <a:noFill/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lt-LT" sz="1900" kern="1200"/>
        </a:p>
      </dsp:txBody>
      <dsp:txXfrm>
        <a:off x="3027264" y="0"/>
        <a:ext cx="1329800" cy="1935003"/>
      </dsp:txXfrm>
    </dsp:sp>
    <dsp:sp modelId="{D18E730F-999E-466E-8DC4-788E6101E64A}">
      <dsp:nvSpPr>
        <dsp:cNvPr id="0" name=""/>
        <dsp:cNvSpPr/>
      </dsp:nvSpPr>
      <dsp:spPr>
        <a:xfrm>
          <a:off x="4028843" y="447921"/>
          <a:ext cx="1878994" cy="5863640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lt-LT" sz="1800" b="1" kern="1200"/>
            <a:t>Moduliuojantys (keičiantys) veiksniai</a:t>
          </a:r>
        </a:p>
      </dsp:txBody>
      <dsp:txXfrm>
        <a:off x="4028843" y="447921"/>
        <a:ext cx="1878994" cy="1759092"/>
      </dsp:txXfrm>
    </dsp:sp>
    <dsp:sp modelId="{BE085C00-0B41-4F94-911D-A0645BC8F652}">
      <dsp:nvSpPr>
        <dsp:cNvPr id="0" name=""/>
        <dsp:cNvSpPr/>
      </dsp:nvSpPr>
      <dsp:spPr>
        <a:xfrm>
          <a:off x="4088789" y="1936929"/>
          <a:ext cx="1753729" cy="296862"/>
        </a:xfrm>
        <a:prstGeom prst="roundRect">
          <a:avLst>
            <a:gd name="adj" fmla="val 10000"/>
          </a:avLst>
        </a:prstGeom>
        <a:solidFill>
          <a:srgbClr val="FFFFCC"/>
        </a:solidFill>
        <a:ln>
          <a:solidFill>
            <a:srgbClr val="FFFF00"/>
          </a:solidFill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0480" tIns="22860" rIns="30480" bIns="2286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lt-LT" sz="1200" kern="1200" dirty="0"/>
            <a:t>Rūšis</a:t>
          </a:r>
        </a:p>
      </dsp:txBody>
      <dsp:txXfrm>
        <a:off x="4097484" y="1945624"/>
        <a:ext cx="1736339" cy="279472"/>
      </dsp:txXfrm>
    </dsp:sp>
    <dsp:sp modelId="{E4CFA89F-7A3A-4936-9D3E-4B1A91182D3A}">
      <dsp:nvSpPr>
        <dsp:cNvPr id="0" name=""/>
        <dsp:cNvSpPr/>
      </dsp:nvSpPr>
      <dsp:spPr>
        <a:xfrm>
          <a:off x="4088789" y="2236075"/>
          <a:ext cx="1753729" cy="296862"/>
        </a:xfrm>
        <a:prstGeom prst="roundRect">
          <a:avLst>
            <a:gd name="adj" fmla="val 10000"/>
          </a:avLst>
        </a:prstGeom>
        <a:solidFill>
          <a:srgbClr val="FFFFCC"/>
        </a:solidFill>
        <a:ln>
          <a:solidFill>
            <a:srgbClr val="FFFF00"/>
          </a:solidFill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0480" tIns="22860" rIns="30480" bIns="2286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lt-LT" sz="1200" kern="1200" dirty="0"/>
            <a:t>Populiacija</a:t>
          </a:r>
        </a:p>
      </dsp:txBody>
      <dsp:txXfrm>
        <a:off x="4097484" y="2244770"/>
        <a:ext cx="1736339" cy="279472"/>
      </dsp:txXfrm>
    </dsp:sp>
    <dsp:sp modelId="{574106B2-D6B0-4D31-B3BC-7F72F984552C}">
      <dsp:nvSpPr>
        <dsp:cNvPr id="0" name=""/>
        <dsp:cNvSpPr/>
      </dsp:nvSpPr>
      <dsp:spPr>
        <a:xfrm>
          <a:off x="4088789" y="2535221"/>
          <a:ext cx="1753729" cy="296862"/>
        </a:xfrm>
        <a:prstGeom prst="roundRect">
          <a:avLst>
            <a:gd name="adj" fmla="val 10000"/>
          </a:avLst>
        </a:prstGeom>
        <a:solidFill>
          <a:srgbClr val="FFFFCC"/>
        </a:solidFill>
        <a:ln>
          <a:solidFill>
            <a:srgbClr val="FFFF00"/>
          </a:solidFill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0480" tIns="22860" rIns="30480" bIns="2286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lt-LT" sz="1200" kern="1200" dirty="0"/>
            <a:t>Sezoniškumas</a:t>
          </a:r>
        </a:p>
      </dsp:txBody>
      <dsp:txXfrm>
        <a:off x="4097484" y="2543916"/>
        <a:ext cx="1736339" cy="279472"/>
      </dsp:txXfrm>
    </dsp:sp>
    <dsp:sp modelId="{EC4465A2-5736-4DAC-91EF-B3CE0BB7B086}">
      <dsp:nvSpPr>
        <dsp:cNvPr id="0" name=""/>
        <dsp:cNvSpPr/>
      </dsp:nvSpPr>
      <dsp:spPr>
        <a:xfrm>
          <a:off x="4088789" y="2834367"/>
          <a:ext cx="1753729" cy="296862"/>
        </a:xfrm>
        <a:prstGeom prst="roundRect">
          <a:avLst>
            <a:gd name="adj" fmla="val 10000"/>
          </a:avLst>
        </a:prstGeom>
        <a:solidFill>
          <a:srgbClr val="FFFFCC"/>
        </a:solidFill>
        <a:ln>
          <a:solidFill>
            <a:srgbClr val="FFFF00"/>
          </a:solidFill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0480" tIns="22860" rIns="30480" bIns="2286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lt-LT" sz="1200" kern="1200" dirty="0"/>
            <a:t>Santykių sistema</a:t>
          </a:r>
        </a:p>
      </dsp:txBody>
      <dsp:txXfrm>
        <a:off x="4097484" y="2843062"/>
        <a:ext cx="1736339" cy="279472"/>
      </dsp:txXfrm>
    </dsp:sp>
    <dsp:sp modelId="{093563BE-4697-4567-89E8-C6E5A97165E2}">
      <dsp:nvSpPr>
        <dsp:cNvPr id="0" name=""/>
        <dsp:cNvSpPr/>
      </dsp:nvSpPr>
      <dsp:spPr>
        <a:xfrm>
          <a:off x="4088789" y="3133513"/>
          <a:ext cx="1753729" cy="296862"/>
        </a:xfrm>
        <a:prstGeom prst="roundRect">
          <a:avLst>
            <a:gd name="adj" fmla="val 10000"/>
          </a:avLst>
        </a:prstGeom>
        <a:solidFill>
          <a:srgbClr val="FFFFCC"/>
        </a:solidFill>
        <a:ln>
          <a:solidFill>
            <a:srgbClr val="FFFF00"/>
          </a:solidFill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0480" tIns="22860" rIns="30480" bIns="2286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lt-LT" sz="1200" kern="1200" dirty="0"/>
            <a:t>Gyvenimo istorija</a:t>
          </a:r>
        </a:p>
      </dsp:txBody>
      <dsp:txXfrm>
        <a:off x="4097484" y="3142208"/>
        <a:ext cx="1736339" cy="279472"/>
      </dsp:txXfrm>
    </dsp:sp>
    <dsp:sp modelId="{937B2D49-F9C3-4D9D-82E3-93C31EEAAD63}">
      <dsp:nvSpPr>
        <dsp:cNvPr id="0" name=""/>
        <dsp:cNvSpPr/>
      </dsp:nvSpPr>
      <dsp:spPr>
        <a:xfrm>
          <a:off x="4088789" y="3432659"/>
          <a:ext cx="1753729" cy="296862"/>
        </a:xfrm>
        <a:prstGeom prst="roundRect">
          <a:avLst>
            <a:gd name="adj" fmla="val 10000"/>
          </a:avLst>
        </a:prstGeom>
        <a:solidFill>
          <a:srgbClr val="FFFFCC"/>
        </a:solidFill>
        <a:ln>
          <a:solidFill>
            <a:srgbClr val="FFFF00"/>
          </a:solidFill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0480" tIns="22860" rIns="30480" bIns="2286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lt-LT" sz="1200" kern="1200" dirty="0"/>
            <a:t>Lytis</a:t>
          </a:r>
        </a:p>
      </dsp:txBody>
      <dsp:txXfrm>
        <a:off x="4097484" y="3441354"/>
        <a:ext cx="1736339" cy="279472"/>
      </dsp:txXfrm>
    </dsp:sp>
    <dsp:sp modelId="{E6C67A2C-EDEC-47E5-B538-F8926B4DEB2E}">
      <dsp:nvSpPr>
        <dsp:cNvPr id="0" name=""/>
        <dsp:cNvSpPr/>
      </dsp:nvSpPr>
      <dsp:spPr>
        <a:xfrm>
          <a:off x="4088789" y="3731805"/>
          <a:ext cx="1753729" cy="296862"/>
        </a:xfrm>
        <a:prstGeom prst="roundRect">
          <a:avLst>
            <a:gd name="adj" fmla="val 10000"/>
          </a:avLst>
        </a:prstGeom>
        <a:solidFill>
          <a:srgbClr val="FFFFCC"/>
        </a:solidFill>
        <a:ln>
          <a:solidFill>
            <a:srgbClr val="FFFF00"/>
          </a:solidFill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0480" tIns="22860" rIns="30480" bIns="2286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lt-LT" sz="1200" kern="1200" dirty="0"/>
            <a:t>Individualybės tipas</a:t>
          </a:r>
        </a:p>
      </dsp:txBody>
      <dsp:txXfrm>
        <a:off x="4097484" y="3740500"/>
        <a:ext cx="1736339" cy="279472"/>
      </dsp:txXfrm>
    </dsp:sp>
    <dsp:sp modelId="{BBA3C476-D826-4D70-A224-197501CD49AC}">
      <dsp:nvSpPr>
        <dsp:cNvPr id="0" name=""/>
        <dsp:cNvSpPr/>
      </dsp:nvSpPr>
      <dsp:spPr>
        <a:xfrm>
          <a:off x="4088789" y="4030951"/>
          <a:ext cx="1753729" cy="296862"/>
        </a:xfrm>
        <a:prstGeom prst="roundRect">
          <a:avLst>
            <a:gd name="adj" fmla="val 10000"/>
          </a:avLst>
        </a:prstGeom>
        <a:solidFill>
          <a:srgbClr val="FFFFCC"/>
        </a:solidFill>
        <a:ln>
          <a:solidFill>
            <a:srgbClr val="FFFF00"/>
          </a:solidFill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0480" tIns="22860" rIns="30480" bIns="2286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lt-LT" sz="1200" kern="1200" dirty="0"/>
            <a:t>Amžius</a:t>
          </a:r>
        </a:p>
      </dsp:txBody>
      <dsp:txXfrm>
        <a:off x="4097484" y="4039646"/>
        <a:ext cx="1736339" cy="279472"/>
      </dsp:txXfrm>
    </dsp:sp>
    <dsp:sp modelId="{84DD0C19-AB1E-4CC3-B569-659F2ED18600}">
      <dsp:nvSpPr>
        <dsp:cNvPr id="0" name=""/>
        <dsp:cNvSpPr/>
      </dsp:nvSpPr>
      <dsp:spPr>
        <a:xfrm>
          <a:off x="4088789" y="4330097"/>
          <a:ext cx="1753729" cy="296862"/>
        </a:xfrm>
        <a:prstGeom prst="roundRect">
          <a:avLst>
            <a:gd name="adj" fmla="val 10000"/>
          </a:avLst>
        </a:prstGeom>
        <a:solidFill>
          <a:srgbClr val="FFFFCC"/>
        </a:solidFill>
        <a:ln>
          <a:solidFill>
            <a:srgbClr val="FFFF00"/>
          </a:solidFill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0480" tIns="22860" rIns="30480" bIns="2286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lt-LT" sz="1200" kern="1200" dirty="0"/>
            <a:t>Kūno išsivystymas</a:t>
          </a:r>
        </a:p>
      </dsp:txBody>
      <dsp:txXfrm>
        <a:off x="4097484" y="4338792"/>
        <a:ext cx="1736339" cy="279472"/>
      </dsp:txXfrm>
    </dsp:sp>
    <dsp:sp modelId="{CCEE2976-9D30-47D7-A314-29DE2BB1BEDE}">
      <dsp:nvSpPr>
        <dsp:cNvPr id="0" name=""/>
        <dsp:cNvSpPr/>
      </dsp:nvSpPr>
      <dsp:spPr>
        <a:xfrm>
          <a:off x="4088789" y="4629243"/>
          <a:ext cx="1753729" cy="296862"/>
        </a:xfrm>
        <a:prstGeom prst="roundRect">
          <a:avLst>
            <a:gd name="adj" fmla="val 10000"/>
          </a:avLst>
        </a:prstGeom>
        <a:solidFill>
          <a:srgbClr val="FFFFCC"/>
        </a:solidFill>
        <a:ln>
          <a:solidFill>
            <a:srgbClr val="FFFF00"/>
          </a:solidFill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0480" tIns="22860" rIns="30480" bIns="2286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lt-LT" sz="1200" kern="1200" dirty="0"/>
            <a:t>Reprodukcinė būklė</a:t>
          </a:r>
        </a:p>
      </dsp:txBody>
      <dsp:txXfrm>
        <a:off x="4097484" y="4637938"/>
        <a:ext cx="1736339" cy="279472"/>
      </dsp:txXfrm>
    </dsp:sp>
    <dsp:sp modelId="{0158873E-7EBE-4F58-A1D9-06BBDF91AB2F}">
      <dsp:nvSpPr>
        <dsp:cNvPr id="0" name=""/>
        <dsp:cNvSpPr/>
      </dsp:nvSpPr>
      <dsp:spPr>
        <a:xfrm>
          <a:off x="4088789" y="4928389"/>
          <a:ext cx="1753729" cy="296862"/>
        </a:xfrm>
        <a:prstGeom prst="roundRect">
          <a:avLst>
            <a:gd name="adj" fmla="val 10000"/>
          </a:avLst>
        </a:prstGeom>
        <a:solidFill>
          <a:srgbClr val="FFFFCC"/>
        </a:solidFill>
        <a:ln>
          <a:solidFill>
            <a:srgbClr val="FFFF00"/>
          </a:solidFill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0480" tIns="22860" rIns="30480" bIns="2286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lt-LT" sz="1200" kern="1200" dirty="0"/>
            <a:t>Elgsenos taktika</a:t>
          </a:r>
        </a:p>
      </dsp:txBody>
      <dsp:txXfrm>
        <a:off x="4097484" y="4937084"/>
        <a:ext cx="1736339" cy="279472"/>
      </dsp:txXfrm>
    </dsp:sp>
    <dsp:sp modelId="{869D2B7C-CCA5-4B3B-9971-9FE67B67E1D8}">
      <dsp:nvSpPr>
        <dsp:cNvPr id="0" name=""/>
        <dsp:cNvSpPr/>
      </dsp:nvSpPr>
      <dsp:spPr>
        <a:xfrm>
          <a:off x="4088789" y="5227535"/>
          <a:ext cx="1753729" cy="296862"/>
        </a:xfrm>
        <a:prstGeom prst="roundRect">
          <a:avLst>
            <a:gd name="adj" fmla="val 10000"/>
          </a:avLst>
        </a:prstGeom>
        <a:solidFill>
          <a:srgbClr val="FFFFCC"/>
        </a:solidFill>
        <a:ln>
          <a:solidFill>
            <a:srgbClr val="FFFF00"/>
          </a:solidFill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0480" tIns="22860" rIns="30480" bIns="2286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lt-LT" sz="1200" kern="1200" dirty="0"/>
            <a:t>Santykių patirtis</a:t>
          </a:r>
        </a:p>
      </dsp:txBody>
      <dsp:txXfrm>
        <a:off x="4097484" y="5236230"/>
        <a:ext cx="1736339" cy="279472"/>
      </dsp:txXfrm>
    </dsp:sp>
    <dsp:sp modelId="{BA2B0C43-3487-4BBB-BFF4-F76C7596047C}">
      <dsp:nvSpPr>
        <dsp:cNvPr id="0" name=""/>
        <dsp:cNvSpPr/>
      </dsp:nvSpPr>
      <dsp:spPr>
        <a:xfrm>
          <a:off x="4088789" y="5526681"/>
          <a:ext cx="1753729" cy="296862"/>
        </a:xfrm>
        <a:prstGeom prst="roundRect">
          <a:avLst>
            <a:gd name="adj" fmla="val 10000"/>
          </a:avLst>
        </a:prstGeom>
        <a:solidFill>
          <a:srgbClr val="FFFFCC"/>
        </a:solidFill>
        <a:ln>
          <a:solidFill>
            <a:srgbClr val="FFFF00"/>
          </a:solidFill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0480" tIns="22860" rIns="30480" bIns="2286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lt-LT" sz="1200" kern="1200" dirty="0"/>
            <a:t>Santykių tvirtumas</a:t>
          </a:r>
        </a:p>
      </dsp:txBody>
      <dsp:txXfrm>
        <a:off x="4097484" y="5535376"/>
        <a:ext cx="1736339" cy="279472"/>
      </dsp:txXfrm>
    </dsp:sp>
    <dsp:sp modelId="{0FB32D54-D40E-4FFB-920B-E42B64067195}">
      <dsp:nvSpPr>
        <dsp:cNvPr id="0" name=""/>
        <dsp:cNvSpPr/>
      </dsp:nvSpPr>
      <dsp:spPr>
        <a:xfrm>
          <a:off x="4088789" y="5825827"/>
          <a:ext cx="1753729" cy="296862"/>
        </a:xfrm>
        <a:prstGeom prst="roundRect">
          <a:avLst>
            <a:gd name="adj" fmla="val 10000"/>
          </a:avLst>
        </a:prstGeom>
        <a:solidFill>
          <a:srgbClr val="FFFFCC"/>
        </a:solidFill>
        <a:ln>
          <a:solidFill>
            <a:srgbClr val="FFFF00"/>
          </a:solidFill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0480" tIns="22860" rIns="30480" bIns="2286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lt-LT" sz="1200" kern="1200" dirty="0"/>
            <a:t>Santykių ugdymas</a:t>
          </a:r>
        </a:p>
      </dsp:txBody>
      <dsp:txXfrm>
        <a:off x="4097484" y="5834522"/>
        <a:ext cx="1736339" cy="279472"/>
      </dsp:txXfrm>
    </dsp:sp>
    <dsp:sp modelId="{4DFD3513-F422-4C43-8651-2419B4981D41}">
      <dsp:nvSpPr>
        <dsp:cNvPr id="0" name=""/>
        <dsp:cNvSpPr/>
      </dsp:nvSpPr>
      <dsp:spPr>
        <a:xfrm>
          <a:off x="6172122" y="304730"/>
          <a:ext cx="1878994" cy="5863640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lt-LT" sz="1800" b="1" kern="1200"/>
            <a:t>Reakcija į dirgiklius</a:t>
          </a:r>
        </a:p>
      </dsp:txBody>
      <dsp:txXfrm>
        <a:off x="6172122" y="304730"/>
        <a:ext cx="1878994" cy="1759092"/>
      </dsp:txXfrm>
    </dsp:sp>
    <dsp:sp modelId="{D6F41F54-485C-41A3-B314-643D54248090}">
      <dsp:nvSpPr>
        <dsp:cNvPr id="0" name=""/>
        <dsp:cNvSpPr/>
      </dsp:nvSpPr>
      <dsp:spPr>
        <a:xfrm>
          <a:off x="6255105" y="1938181"/>
          <a:ext cx="1753729" cy="832109"/>
        </a:xfrm>
        <a:prstGeom prst="roundRect">
          <a:avLst>
            <a:gd name="adj" fmla="val 10000"/>
          </a:avLst>
        </a:prstGeom>
        <a:solidFill>
          <a:srgbClr val="FFFFCC"/>
        </a:solidFill>
        <a:ln>
          <a:solidFill>
            <a:srgbClr val="FFFF00"/>
          </a:solidFill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0480" tIns="22860" rIns="30480" bIns="2286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lt-LT" sz="1200" kern="1200" dirty="0"/>
            <a:t>Išsivystomoji reakcija</a:t>
          </a:r>
        </a:p>
      </dsp:txBody>
      <dsp:txXfrm>
        <a:off x="6279477" y="1962553"/>
        <a:ext cx="1704985" cy="783365"/>
      </dsp:txXfrm>
    </dsp:sp>
    <dsp:sp modelId="{BEE98AEB-C86F-4642-B4C8-DBD2930BE388}">
      <dsp:nvSpPr>
        <dsp:cNvPr id="0" name=""/>
        <dsp:cNvSpPr/>
      </dsp:nvSpPr>
      <dsp:spPr>
        <a:xfrm>
          <a:off x="6255105" y="2776691"/>
          <a:ext cx="1753729" cy="832109"/>
        </a:xfrm>
        <a:prstGeom prst="roundRect">
          <a:avLst>
            <a:gd name="adj" fmla="val 10000"/>
          </a:avLst>
        </a:prstGeom>
        <a:solidFill>
          <a:srgbClr val="FFFFCC"/>
        </a:solidFill>
        <a:ln>
          <a:solidFill>
            <a:srgbClr val="FFFF00"/>
          </a:solidFill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0480" tIns="22860" rIns="30480" bIns="2286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lt-LT" sz="1200" kern="1200" dirty="0"/>
            <a:t>Fiziologinė reakcija (energijos ir resursų paskirstymas)</a:t>
          </a:r>
        </a:p>
      </dsp:txBody>
      <dsp:txXfrm>
        <a:off x="6279477" y="2801063"/>
        <a:ext cx="1704985" cy="783365"/>
      </dsp:txXfrm>
    </dsp:sp>
    <dsp:sp modelId="{6784D37E-186C-4942-BA2E-EB238594F702}">
      <dsp:nvSpPr>
        <dsp:cNvPr id="0" name=""/>
        <dsp:cNvSpPr/>
      </dsp:nvSpPr>
      <dsp:spPr>
        <a:xfrm>
          <a:off x="6255105" y="3615202"/>
          <a:ext cx="1753729" cy="832109"/>
        </a:xfrm>
        <a:prstGeom prst="roundRect">
          <a:avLst>
            <a:gd name="adj" fmla="val 10000"/>
          </a:avLst>
        </a:prstGeom>
        <a:solidFill>
          <a:srgbClr val="FFFFCC"/>
        </a:solidFill>
        <a:ln>
          <a:solidFill>
            <a:srgbClr val="FFFF00"/>
          </a:solidFill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0480" tIns="22860" rIns="30480" bIns="2286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lt-LT" sz="1200" kern="1200" dirty="0"/>
            <a:t>Elgsenos reakcija (judesiai, tarpusavio bendravimas)</a:t>
          </a:r>
        </a:p>
      </dsp:txBody>
      <dsp:txXfrm>
        <a:off x="6279477" y="3639574"/>
        <a:ext cx="1704985" cy="783365"/>
      </dsp:txXfrm>
    </dsp:sp>
    <dsp:sp modelId="{F0573CE0-C240-498A-9576-DE1D39389325}">
      <dsp:nvSpPr>
        <dsp:cNvPr id="0" name=""/>
        <dsp:cNvSpPr/>
      </dsp:nvSpPr>
      <dsp:spPr>
        <a:xfrm>
          <a:off x="6255105" y="4453712"/>
          <a:ext cx="1753729" cy="832109"/>
        </a:xfrm>
        <a:prstGeom prst="roundRect">
          <a:avLst>
            <a:gd name="adj" fmla="val 10000"/>
          </a:avLst>
        </a:prstGeom>
        <a:solidFill>
          <a:srgbClr val="FFFFCC"/>
        </a:solidFill>
        <a:ln>
          <a:solidFill>
            <a:srgbClr val="FFFF00"/>
          </a:solidFill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0480" tIns="22860" rIns="30480" bIns="2286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lt-LT" sz="1200" kern="1200" dirty="0"/>
            <a:t>Hormoninė reakcija (gliukokortikoidai, katecholaminai, androgenai)</a:t>
          </a:r>
        </a:p>
      </dsp:txBody>
      <dsp:txXfrm>
        <a:off x="6279477" y="4478084"/>
        <a:ext cx="1704985" cy="783365"/>
      </dsp:txXfrm>
    </dsp:sp>
    <dsp:sp modelId="{60B438C9-E20C-49D6-92F6-908198A94788}">
      <dsp:nvSpPr>
        <dsp:cNvPr id="0" name=""/>
        <dsp:cNvSpPr/>
      </dsp:nvSpPr>
      <dsp:spPr>
        <a:xfrm>
          <a:off x="6255105" y="5292222"/>
          <a:ext cx="1753729" cy="832109"/>
        </a:xfrm>
        <a:prstGeom prst="roundRect">
          <a:avLst>
            <a:gd name="adj" fmla="val 10000"/>
          </a:avLst>
        </a:prstGeom>
        <a:solidFill>
          <a:srgbClr val="FFFFCC"/>
        </a:solidFill>
        <a:ln>
          <a:solidFill>
            <a:srgbClr val="FFFF00"/>
          </a:solidFill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0480" tIns="22860" rIns="30480" bIns="2286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lt-LT" sz="1200" kern="1200" dirty="0"/>
            <a:t>Imuninė reakcija</a:t>
          </a:r>
        </a:p>
      </dsp:txBody>
      <dsp:txXfrm>
        <a:off x="6279477" y="5316594"/>
        <a:ext cx="1704985" cy="783365"/>
      </dsp:txXfrm>
    </dsp:sp>
    <dsp:sp modelId="{1BA5F8EF-479F-4E12-8832-70B9F83354CB}">
      <dsp:nvSpPr>
        <dsp:cNvPr id="0" name=""/>
        <dsp:cNvSpPr/>
      </dsp:nvSpPr>
      <dsp:spPr>
        <a:xfrm>
          <a:off x="8325879" y="316276"/>
          <a:ext cx="1878994" cy="5863640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lt-LT" sz="1800" b="1" kern="1200"/>
            <a:t>Pasekmės</a:t>
          </a:r>
        </a:p>
      </dsp:txBody>
      <dsp:txXfrm>
        <a:off x="8325879" y="316276"/>
        <a:ext cx="1878994" cy="1759092"/>
      </dsp:txXfrm>
    </dsp:sp>
    <dsp:sp modelId="{E4371515-9205-4279-A8A4-AF41A7AD6FF4}">
      <dsp:nvSpPr>
        <dsp:cNvPr id="0" name=""/>
        <dsp:cNvSpPr/>
      </dsp:nvSpPr>
      <dsp:spPr>
        <a:xfrm>
          <a:off x="8377464" y="1939577"/>
          <a:ext cx="1753729" cy="692785"/>
        </a:xfrm>
        <a:prstGeom prst="roundRect">
          <a:avLst>
            <a:gd name="adj" fmla="val 10000"/>
          </a:avLst>
        </a:prstGeom>
        <a:solidFill>
          <a:srgbClr val="FFFFCC"/>
        </a:solidFill>
        <a:ln>
          <a:solidFill>
            <a:srgbClr val="FFFF00"/>
          </a:solidFill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0480" tIns="22860" rIns="30480" bIns="2286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lt-LT" sz="1200" kern="1200" dirty="0"/>
            <a:t>Energijos poreikis</a:t>
          </a:r>
        </a:p>
      </dsp:txBody>
      <dsp:txXfrm>
        <a:off x="8397755" y="1959868"/>
        <a:ext cx="1713147" cy="652203"/>
      </dsp:txXfrm>
    </dsp:sp>
    <dsp:sp modelId="{35C7A667-9925-4B5B-A307-3CB9140D7C7F}">
      <dsp:nvSpPr>
        <dsp:cNvPr id="0" name=""/>
        <dsp:cNvSpPr/>
      </dsp:nvSpPr>
      <dsp:spPr>
        <a:xfrm>
          <a:off x="8377464" y="2637692"/>
          <a:ext cx="1753729" cy="692785"/>
        </a:xfrm>
        <a:prstGeom prst="roundRect">
          <a:avLst>
            <a:gd name="adj" fmla="val 10000"/>
          </a:avLst>
        </a:prstGeom>
        <a:solidFill>
          <a:srgbClr val="FFFFCC"/>
        </a:solidFill>
        <a:ln>
          <a:solidFill>
            <a:srgbClr val="FFFF00"/>
          </a:solidFill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0480" tIns="22860" rIns="30480" bIns="2286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lt-LT" sz="1200" kern="1200" dirty="0"/>
            <a:t>Maisto įsisavinamumas</a:t>
          </a:r>
        </a:p>
      </dsp:txBody>
      <dsp:txXfrm>
        <a:off x="8397755" y="2657983"/>
        <a:ext cx="1713147" cy="652203"/>
      </dsp:txXfrm>
    </dsp:sp>
    <dsp:sp modelId="{2767FEF0-2885-481A-8CD6-1C614743BBB5}">
      <dsp:nvSpPr>
        <dsp:cNvPr id="0" name=""/>
        <dsp:cNvSpPr/>
      </dsp:nvSpPr>
      <dsp:spPr>
        <a:xfrm>
          <a:off x="8377464" y="3335806"/>
          <a:ext cx="1753729" cy="692785"/>
        </a:xfrm>
        <a:prstGeom prst="roundRect">
          <a:avLst>
            <a:gd name="adj" fmla="val 10000"/>
          </a:avLst>
        </a:prstGeom>
        <a:solidFill>
          <a:srgbClr val="FFFFCC"/>
        </a:solidFill>
        <a:ln>
          <a:solidFill>
            <a:srgbClr val="FFFF00"/>
          </a:solidFill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0480" tIns="22860" rIns="30480" bIns="2286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lt-LT" sz="1200" kern="1200" dirty="0"/>
            <a:t>Gyvybingumas</a:t>
          </a:r>
        </a:p>
      </dsp:txBody>
      <dsp:txXfrm>
        <a:off x="8397755" y="3356097"/>
        <a:ext cx="1713147" cy="652203"/>
      </dsp:txXfrm>
    </dsp:sp>
    <dsp:sp modelId="{7C4919D9-B3F3-4E5A-B707-5A7C87EE3C50}">
      <dsp:nvSpPr>
        <dsp:cNvPr id="0" name=""/>
        <dsp:cNvSpPr/>
      </dsp:nvSpPr>
      <dsp:spPr>
        <a:xfrm>
          <a:off x="8377464" y="4033921"/>
          <a:ext cx="1753729" cy="692785"/>
        </a:xfrm>
        <a:prstGeom prst="roundRect">
          <a:avLst>
            <a:gd name="adj" fmla="val 10000"/>
          </a:avLst>
        </a:prstGeom>
        <a:solidFill>
          <a:srgbClr val="FFFFCC"/>
        </a:solidFill>
        <a:ln>
          <a:solidFill>
            <a:srgbClr val="FFFF00"/>
          </a:solidFill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0480" tIns="22860" rIns="30480" bIns="2286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lt-LT" sz="1200" kern="1200" dirty="0"/>
            <a:t>Vaisingumas</a:t>
          </a:r>
        </a:p>
      </dsp:txBody>
      <dsp:txXfrm>
        <a:off x="8397755" y="4054212"/>
        <a:ext cx="1713147" cy="652203"/>
      </dsp:txXfrm>
    </dsp:sp>
    <dsp:sp modelId="{F5D7AF6D-6089-4432-BED3-1E6C809AEE19}">
      <dsp:nvSpPr>
        <dsp:cNvPr id="0" name=""/>
        <dsp:cNvSpPr/>
      </dsp:nvSpPr>
      <dsp:spPr>
        <a:xfrm>
          <a:off x="8377464" y="4732036"/>
          <a:ext cx="1753729" cy="692785"/>
        </a:xfrm>
        <a:prstGeom prst="roundRect">
          <a:avLst>
            <a:gd name="adj" fmla="val 10000"/>
          </a:avLst>
        </a:prstGeom>
        <a:solidFill>
          <a:srgbClr val="FFFFCC"/>
        </a:solidFill>
        <a:ln>
          <a:solidFill>
            <a:srgbClr val="FFFF00"/>
          </a:solidFill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0480" tIns="22860" rIns="30480" bIns="2286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lt-LT" sz="1200" kern="1200" dirty="0"/>
            <a:t>Vaisos slopinimas</a:t>
          </a:r>
        </a:p>
      </dsp:txBody>
      <dsp:txXfrm>
        <a:off x="8397755" y="4752327"/>
        <a:ext cx="1713147" cy="652203"/>
      </dsp:txXfrm>
    </dsp:sp>
    <dsp:sp modelId="{D47E1101-EA04-49B9-AED1-9F717654D507}">
      <dsp:nvSpPr>
        <dsp:cNvPr id="0" name=""/>
        <dsp:cNvSpPr/>
      </dsp:nvSpPr>
      <dsp:spPr>
        <a:xfrm>
          <a:off x="8377464" y="5430150"/>
          <a:ext cx="1753729" cy="692785"/>
        </a:xfrm>
        <a:prstGeom prst="roundRect">
          <a:avLst>
            <a:gd name="adj" fmla="val 10000"/>
          </a:avLst>
        </a:prstGeom>
        <a:solidFill>
          <a:srgbClr val="FFFFCC"/>
        </a:solidFill>
        <a:ln>
          <a:solidFill>
            <a:srgbClr val="FFFF00"/>
          </a:solidFill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0480" tIns="22860" rIns="30480" bIns="2286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lt-LT" sz="1200" kern="1200" dirty="0"/>
            <a:t>Imuninis atsparumas</a:t>
          </a:r>
        </a:p>
      </dsp:txBody>
      <dsp:txXfrm>
        <a:off x="8397755" y="5450441"/>
        <a:ext cx="1713147" cy="65220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340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340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19AFD8-70E6-47F3-9CB9-A478C1F0866A}" type="datetimeFigureOut">
              <a:rPr lang="en-US" smtClean="0"/>
              <a:pPr/>
              <a:t>10/13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01750" y="1154113"/>
            <a:ext cx="4406900" cy="31162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44861"/>
            <a:ext cx="5608320" cy="363670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772669"/>
            <a:ext cx="3037840" cy="46340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772669"/>
            <a:ext cx="3037840" cy="46340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5D0B3B-2A6A-4150-857F-3DCE477D456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59988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F688B7-19E5-43E1-8EC2-F0A8547E4BA2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82089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rma skaid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98500" y="2789238"/>
            <a:ext cx="9220200" cy="1600993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buNone/>
              <a:defRPr sz="3200"/>
            </a:lvl1pPr>
          </a:lstStyle>
          <a:p>
            <a:r>
              <a:rPr lang="en-GB" sz="5000" b="1" dirty="0">
                <a:solidFill>
                  <a:srgbClr val="53BFE5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LOREM</a:t>
            </a:r>
          </a:p>
          <a:p>
            <a:r>
              <a:rPr lang="en-GB" sz="5000" b="1" dirty="0">
                <a:solidFill>
                  <a:srgbClr val="53BFE5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IPSUM LOREM</a:t>
            </a:r>
            <a:endParaRPr lang="lt-LT" sz="5000" b="1" dirty="0">
              <a:solidFill>
                <a:srgbClr val="53BFE5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98500" y="4390231"/>
            <a:ext cx="9220200" cy="457993"/>
          </a:xfrm>
          <a:prstGeom prst="rect">
            <a:avLst/>
          </a:prstGeom>
        </p:spPr>
        <p:txBody>
          <a:bodyPr/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00"/>
            </a:lvl1pPr>
          </a:lstStyle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lt-LT" dirty="0">
                <a:solidFill>
                  <a:srgbClr val="53BFE5"/>
                </a:solidFill>
              </a:rPr>
              <a:t>Prezentacija 2017 | 08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askutine skaid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7937500" y="6295231"/>
            <a:ext cx="20574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lt-LT" sz="2200" dirty="0">
                <a:solidFill>
                  <a:srgbClr val="53BFE5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www.lsmu.lt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" descr="C:\Users\Admin\Desktop\Galutinis3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22300" y="808831"/>
            <a:ext cx="3843338" cy="527050"/>
          </a:xfrm>
          <a:prstGeom prst="rect">
            <a:avLst/>
          </a:prstGeom>
          <a:noFill/>
        </p:spPr>
      </p:pic>
      <p:pic>
        <p:nvPicPr>
          <p:cNvPr id="8" name="Picture 7" descr="juosta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10706100" cy="1524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3" descr="C:\Users\Admin\Desktop\Galutinis3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22300" y="808831"/>
            <a:ext cx="3843338" cy="527050"/>
          </a:xfrm>
          <a:prstGeom prst="rect">
            <a:avLst/>
          </a:prstGeom>
          <a:noFill/>
        </p:spPr>
      </p:pic>
      <p:pic>
        <p:nvPicPr>
          <p:cNvPr id="4" name="Picture 3" descr="juosta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10706100" cy="1524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7641918"/>
              </p:ext>
            </p:extLst>
          </p:nvPr>
        </p:nvGraphicFramePr>
        <p:xfrm>
          <a:off x="1858" y="1752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8" imgH="368" progId="TCLayout.ActiveDocument.1">
                  <p:embed/>
                </p:oleObj>
              </mc:Choice>
              <mc:Fallback>
                <p:oleObj name="think-cell Slide" r:id="rId4" imgW="368" imgH="368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58" y="1752"/>
                        <a:ext cx="1856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8863" y="352141"/>
            <a:ext cx="9915679" cy="712610"/>
          </a:xfrm>
        </p:spPr>
        <p:txBody>
          <a:bodyPr anchor="t" anchorCtr="0">
            <a:spAutoFit/>
          </a:bodyPr>
          <a:lstStyle>
            <a:lvl1pPr algn="l">
              <a:defRPr sz="3508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863" y="1661503"/>
            <a:ext cx="9915679" cy="4990084"/>
          </a:xfrm>
        </p:spPr>
        <p:txBody>
          <a:bodyPr/>
          <a:lstStyle>
            <a:lvl2pPr marL="267333" indent="-267333">
              <a:buFont typeface="Wingdings" pitchFamily="2" charset="2"/>
              <a:buChar char="§"/>
              <a:defRPr/>
            </a:lvl2pPr>
            <a:lvl4pPr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88860" y="7254935"/>
            <a:ext cx="9517126" cy="226225"/>
          </a:xfrm>
        </p:spPr>
        <p:txBody>
          <a:bodyPr anchor="t" anchorCtr="0"/>
          <a:lstStyle>
            <a:lvl1pPr>
              <a:defRPr sz="1169"/>
            </a:lvl1pPr>
          </a:lstStyle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SOURCE: Sourc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983738" y="7254935"/>
            <a:ext cx="320802" cy="226225"/>
          </a:xfrm>
        </p:spPr>
        <p:txBody>
          <a:bodyPr anchor="t" anchorCtr="0"/>
          <a:lstStyle>
            <a:lvl1pPr>
              <a:defRPr sz="1169"/>
            </a:lvl1pPr>
          </a:lstStyle>
          <a:p>
            <a:fld id="{A7FB1B8D-0DC0-4004-A2AE-133D617D59E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8861" y="6992599"/>
            <a:ext cx="9912782" cy="203035"/>
          </a:xfrm>
        </p:spPr>
        <p:txBody>
          <a:bodyPr anchor="b" anchorCtr="0">
            <a:noAutofit/>
          </a:bodyPr>
          <a:lstStyle>
            <a:lvl1pPr marL="0" algn="l" defTabSz="1069334" rtl="0" eaLnBrk="1" latinLnBrk="0" hangingPunct="1">
              <a:defRPr lang="en-US" sz="1169" kern="1200" dirty="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algn="l" defTabSz="1069334" rtl="0" eaLnBrk="1" latinLnBrk="0" hangingPunct="1">
              <a:defRPr lang="en-US" sz="1403" kern="1200" dirty="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algn="l" defTabSz="1069334" rtl="0" eaLnBrk="1" latinLnBrk="0" hangingPunct="1">
              <a:defRPr lang="en-US" sz="1403" kern="1200" dirty="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algn="l" defTabSz="1069334" rtl="0" eaLnBrk="1" latinLnBrk="0" hangingPunct="1">
              <a:defRPr lang="en-US" sz="1403" kern="1200" dirty="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algn="l" defTabSz="1069334" rtl="0" eaLnBrk="1" latinLnBrk="0" hangingPunct="1">
              <a:defRPr lang="en-US" sz="1403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1 Footnot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388863" y="1035680"/>
            <a:ext cx="9915679" cy="468287"/>
          </a:xfrm>
        </p:spPr>
        <p:txBody>
          <a:bodyPr>
            <a:spAutoFit/>
          </a:bodyPr>
          <a:lstStyle>
            <a:lvl1pPr>
              <a:defRPr sz="2105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Rounded Rectangle 9"/>
          <p:cNvSpPr/>
          <p:nvPr userDrawn="1"/>
        </p:nvSpPr>
        <p:spPr>
          <a:xfrm rot="5400000" flipH="1">
            <a:off x="10020259" y="6888122"/>
            <a:ext cx="1238512" cy="107772"/>
          </a:xfrm>
          <a:custGeom>
            <a:avLst/>
            <a:gdLst/>
            <a:ahLst/>
            <a:cxnLst/>
            <a:rect l="l" t="t" r="r" b="b"/>
            <a:pathLst>
              <a:path w="1123320" h="92157">
                <a:moveTo>
                  <a:pt x="1123320" y="0"/>
                </a:moveTo>
                <a:lnTo>
                  <a:pt x="0" y="0"/>
                </a:lnTo>
                <a:lnTo>
                  <a:pt x="0" y="92157"/>
                </a:lnTo>
                <a:lnTo>
                  <a:pt x="954658" y="92157"/>
                </a:lnTo>
                <a:cubicBezTo>
                  <a:pt x="1025856" y="92157"/>
                  <a:pt x="1088739" y="56562"/>
                  <a:pt x="1123320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71" dirty="0">
              <a:solidFill>
                <a:srgbClr val="000000"/>
              </a:solidFill>
            </a:endParaRPr>
          </a:p>
        </p:txBody>
      </p:sp>
      <p:sp>
        <p:nvSpPr>
          <p:cNvPr id="11" name="Rounded Rectangle 9"/>
          <p:cNvSpPr/>
          <p:nvPr userDrawn="1">
            <p:custDataLst>
              <p:tags r:id="rId2"/>
            </p:custDataLst>
          </p:nvPr>
        </p:nvSpPr>
        <p:spPr>
          <a:xfrm rot="5400000" flipV="1">
            <a:off x="-565369" y="565371"/>
            <a:ext cx="1238512" cy="107772"/>
          </a:xfrm>
          <a:custGeom>
            <a:avLst/>
            <a:gdLst/>
            <a:ahLst/>
            <a:cxnLst/>
            <a:rect l="l" t="t" r="r" b="b"/>
            <a:pathLst>
              <a:path w="1123320" h="92157">
                <a:moveTo>
                  <a:pt x="1123320" y="0"/>
                </a:moveTo>
                <a:lnTo>
                  <a:pt x="0" y="0"/>
                </a:lnTo>
                <a:lnTo>
                  <a:pt x="0" y="92157"/>
                </a:lnTo>
                <a:lnTo>
                  <a:pt x="954658" y="92157"/>
                </a:lnTo>
                <a:cubicBezTo>
                  <a:pt x="1025856" y="92157"/>
                  <a:pt x="1088739" y="56562"/>
                  <a:pt x="1123320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71" dirty="0">
              <a:solidFill>
                <a:srgbClr val="000000"/>
              </a:solidFill>
            </a:endParaRP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C37E3488-016B-4AFC-A6FC-2A6AB42E593C}"/>
              </a:ext>
            </a:extLst>
          </p:cNvPr>
          <p:cNvSpPr txBox="1">
            <a:spLocks/>
          </p:cNvSpPr>
          <p:nvPr userDrawn="1"/>
        </p:nvSpPr>
        <p:spPr>
          <a:xfrm>
            <a:off x="388861" y="100683"/>
            <a:ext cx="9517126" cy="1799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69" dirty="0">
                <a:solidFill>
                  <a:prstClr val="white">
                    <a:lumMod val="65000"/>
                  </a:prstClr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723453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5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50901" y="1749006"/>
            <a:ext cx="3843338" cy="55280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983396" y="-1"/>
            <a:ext cx="710004" cy="3692021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90" r:id="rId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9" r:id="rId2"/>
    <p:sldLayoutId id="2147483707" r:id="rId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3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juosta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0"/>
            <a:ext cx="10706100" cy="1524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7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tags" Target="../tags/tag5.xml"/><Relationship Id="rId7" Type="http://schemas.openxmlformats.org/officeDocument/2006/relationships/image" Target="../media/image20.jpe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19.png"/><Relationship Id="rId11" Type="http://schemas.openxmlformats.org/officeDocument/2006/relationships/image" Target="../media/image24.png"/><Relationship Id="rId5" Type="http://schemas.openxmlformats.org/officeDocument/2006/relationships/image" Target="../media/image18.jpeg"/><Relationship Id="rId10" Type="http://schemas.openxmlformats.org/officeDocument/2006/relationships/image" Target="../media/image23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2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oleObject" Target="../embeddings/oleObject2.bin"/><Relationship Id="rId18" Type="http://schemas.openxmlformats.org/officeDocument/2006/relationships/image" Target="../media/image29.svg"/><Relationship Id="rId3" Type="http://schemas.openxmlformats.org/officeDocument/2006/relationships/tags" Target="../tags/tag8.xml"/><Relationship Id="rId21" Type="http://schemas.openxmlformats.org/officeDocument/2006/relationships/image" Target="../media/image32.png"/><Relationship Id="rId7" Type="http://schemas.openxmlformats.org/officeDocument/2006/relationships/tags" Target="../tags/tag12.xml"/><Relationship Id="rId12" Type="http://schemas.openxmlformats.org/officeDocument/2006/relationships/notesSlide" Target="../notesSlides/notesSlide1.xml"/><Relationship Id="rId17" Type="http://schemas.openxmlformats.org/officeDocument/2006/relationships/image" Target="../media/image28.png"/><Relationship Id="rId2" Type="http://schemas.openxmlformats.org/officeDocument/2006/relationships/tags" Target="../tags/tag7.xml"/><Relationship Id="rId16" Type="http://schemas.openxmlformats.org/officeDocument/2006/relationships/image" Target="../media/image27.svg"/><Relationship Id="rId20" Type="http://schemas.openxmlformats.org/officeDocument/2006/relationships/image" Target="../media/image31.svg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slideLayout" Target="../slideLayouts/slideLayout5.xml"/><Relationship Id="rId5" Type="http://schemas.openxmlformats.org/officeDocument/2006/relationships/tags" Target="../tags/tag10.xml"/><Relationship Id="rId15" Type="http://schemas.openxmlformats.org/officeDocument/2006/relationships/image" Target="../media/image26.png"/><Relationship Id="rId23" Type="http://schemas.openxmlformats.org/officeDocument/2006/relationships/image" Target="../media/image9.jpeg"/><Relationship Id="rId10" Type="http://schemas.openxmlformats.org/officeDocument/2006/relationships/tags" Target="../tags/tag15.xml"/><Relationship Id="rId19" Type="http://schemas.openxmlformats.org/officeDocument/2006/relationships/image" Target="../media/image30.png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4" Type="http://schemas.openxmlformats.org/officeDocument/2006/relationships/image" Target="../media/image25.emf"/><Relationship Id="rId22" Type="http://schemas.openxmlformats.org/officeDocument/2006/relationships/image" Target="../media/image33.sv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23.xml"/><Relationship Id="rId13" Type="http://schemas.openxmlformats.org/officeDocument/2006/relationships/tags" Target="../tags/tag28.xml"/><Relationship Id="rId18" Type="http://schemas.openxmlformats.org/officeDocument/2006/relationships/tags" Target="../tags/tag33.xml"/><Relationship Id="rId26" Type="http://schemas.openxmlformats.org/officeDocument/2006/relationships/slideLayout" Target="../slideLayouts/slideLayout4.xml"/><Relationship Id="rId3" Type="http://schemas.openxmlformats.org/officeDocument/2006/relationships/tags" Target="../tags/tag18.xml"/><Relationship Id="rId21" Type="http://schemas.openxmlformats.org/officeDocument/2006/relationships/tags" Target="../tags/tag36.xml"/><Relationship Id="rId7" Type="http://schemas.openxmlformats.org/officeDocument/2006/relationships/tags" Target="../tags/tag22.xml"/><Relationship Id="rId12" Type="http://schemas.openxmlformats.org/officeDocument/2006/relationships/tags" Target="../tags/tag27.xml"/><Relationship Id="rId17" Type="http://schemas.openxmlformats.org/officeDocument/2006/relationships/tags" Target="../tags/tag32.xml"/><Relationship Id="rId25" Type="http://schemas.openxmlformats.org/officeDocument/2006/relationships/tags" Target="../tags/tag40.xml"/><Relationship Id="rId2" Type="http://schemas.openxmlformats.org/officeDocument/2006/relationships/tags" Target="../tags/tag17.xml"/><Relationship Id="rId16" Type="http://schemas.openxmlformats.org/officeDocument/2006/relationships/tags" Target="../tags/tag31.xml"/><Relationship Id="rId20" Type="http://schemas.openxmlformats.org/officeDocument/2006/relationships/tags" Target="../tags/tag35.xml"/><Relationship Id="rId1" Type="http://schemas.openxmlformats.org/officeDocument/2006/relationships/tags" Target="../tags/tag16.xml"/><Relationship Id="rId6" Type="http://schemas.openxmlformats.org/officeDocument/2006/relationships/tags" Target="../tags/tag21.xml"/><Relationship Id="rId11" Type="http://schemas.openxmlformats.org/officeDocument/2006/relationships/tags" Target="../tags/tag26.xml"/><Relationship Id="rId24" Type="http://schemas.openxmlformats.org/officeDocument/2006/relationships/tags" Target="../tags/tag39.xml"/><Relationship Id="rId5" Type="http://schemas.openxmlformats.org/officeDocument/2006/relationships/tags" Target="../tags/tag20.xml"/><Relationship Id="rId15" Type="http://schemas.openxmlformats.org/officeDocument/2006/relationships/tags" Target="../tags/tag30.xml"/><Relationship Id="rId23" Type="http://schemas.openxmlformats.org/officeDocument/2006/relationships/tags" Target="../tags/tag38.xml"/><Relationship Id="rId28" Type="http://schemas.openxmlformats.org/officeDocument/2006/relationships/image" Target="../media/image9.jpeg"/><Relationship Id="rId10" Type="http://schemas.openxmlformats.org/officeDocument/2006/relationships/tags" Target="../tags/tag25.xml"/><Relationship Id="rId19" Type="http://schemas.openxmlformats.org/officeDocument/2006/relationships/tags" Target="../tags/tag34.xml"/><Relationship Id="rId4" Type="http://schemas.openxmlformats.org/officeDocument/2006/relationships/tags" Target="../tags/tag19.xml"/><Relationship Id="rId9" Type="http://schemas.openxmlformats.org/officeDocument/2006/relationships/tags" Target="../tags/tag24.xml"/><Relationship Id="rId14" Type="http://schemas.openxmlformats.org/officeDocument/2006/relationships/tags" Target="../tags/tag29.xml"/><Relationship Id="rId22" Type="http://schemas.openxmlformats.org/officeDocument/2006/relationships/tags" Target="../tags/tag37.xml"/><Relationship Id="rId27" Type="http://schemas.openxmlformats.org/officeDocument/2006/relationships/image" Target="../media/image3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image" Target="../media/image35.jp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7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6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9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9.jpe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9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5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9.jpeg"/><Relationship Id="rId4" Type="http://schemas.openxmlformats.org/officeDocument/2006/relationships/image" Target="../media/image12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fif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5.png"/><Relationship Id="rId4" Type="http://schemas.openxmlformats.org/officeDocument/2006/relationships/image" Target="../media/image9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492328" y="2980134"/>
            <a:ext cx="9220200" cy="1600993"/>
          </a:xfrm>
        </p:spPr>
        <p:txBody>
          <a:bodyPr/>
          <a:lstStyle/>
          <a:p>
            <a:pPr algn="ctr"/>
            <a:r>
              <a:rPr lang="lt-LT" b="1" dirty="0">
                <a:solidFill>
                  <a:schemeClr val="bg1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INOVACIJOS GYVŪNŲ STEBĖJIMUI IR JŲ ELGESIO VERTINIMUI</a:t>
            </a:r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11"/>
          </p:nvPr>
        </p:nvSpPr>
        <p:spPr>
          <a:xfrm>
            <a:off x="7099300" y="5380831"/>
            <a:ext cx="4533900" cy="1219200"/>
          </a:xfrm>
        </p:spPr>
        <p:txBody>
          <a:bodyPr/>
          <a:lstStyle/>
          <a:p>
            <a:r>
              <a:rPr lang="lt-LT" dirty="0">
                <a:solidFill>
                  <a:schemeClr val="bg1"/>
                </a:solidFill>
              </a:rPr>
              <a:t>Dr. Artūras Šiukščius</a:t>
            </a:r>
          </a:p>
          <a:p>
            <a:r>
              <a:rPr lang="lt-LT" dirty="0">
                <a:solidFill>
                  <a:schemeClr val="bg1"/>
                </a:solidFill>
              </a:rPr>
              <a:t>Doktorantė Inga Merkelytė</a:t>
            </a:r>
          </a:p>
        </p:txBody>
      </p:sp>
      <p:pic>
        <p:nvPicPr>
          <p:cNvPr id="4" name="Paveikslėlis 3">
            <a:extLst>
              <a:ext uri="{FF2B5EF4-FFF2-40B4-BE49-F238E27FC236}">
                <a16:creationId xmlns:a16="http://schemas.microsoft.com/office/drawing/2014/main" id="{1EE1A6B0-8C9C-48D5-A33D-A868B59750D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6500" y="1004140"/>
            <a:ext cx="1633537" cy="1628284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87EB776B-14C6-6E2F-A39F-B0EFE4F4BD69}"/>
              </a:ext>
            </a:extLst>
          </p:cNvPr>
          <p:cNvSpPr txBox="1"/>
          <p:nvPr/>
        </p:nvSpPr>
        <p:spPr>
          <a:xfrm>
            <a:off x="4508500" y="6822599"/>
            <a:ext cx="27432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lt-LT" dirty="0">
                <a:solidFill>
                  <a:srgbClr val="53BFE5"/>
                </a:solidFill>
              </a:rPr>
              <a:t>2022-10-14 </a:t>
            </a:r>
          </a:p>
          <a:p>
            <a:endParaRPr lang="lt-LT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aveikslėlis 2">
            <a:extLst>
              <a:ext uri="{FF2B5EF4-FFF2-40B4-BE49-F238E27FC236}">
                <a16:creationId xmlns:a16="http://schemas.microsoft.com/office/drawing/2014/main" id="{B8C2D245-9D90-0559-5356-85ADA1A2260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32900" y="199231"/>
            <a:ext cx="1261473" cy="1261473"/>
          </a:xfrm>
          <a:prstGeom prst="rect">
            <a:avLst/>
          </a:prstGeom>
        </p:spPr>
      </p:pic>
      <p:pic>
        <p:nvPicPr>
          <p:cNvPr id="1026" name="Picture 2" descr="Cow Monitoring | Accuracy the key to efficiency with CowManager, Senztag">
            <a:extLst>
              <a:ext uri="{FF2B5EF4-FFF2-40B4-BE49-F238E27FC236}">
                <a16:creationId xmlns:a16="http://schemas.microsoft.com/office/drawing/2014/main" id="{8FEBE0E5-4CC4-F583-2913-E5940CD6E73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37300" y="1189831"/>
            <a:ext cx="3670203" cy="62836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ADCBEC8-7868-CF5C-A0EC-74A67110EB9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9900" y="2942431"/>
            <a:ext cx="5943600" cy="2165119"/>
          </a:xfrm>
          <a:prstGeom prst="rect">
            <a:avLst/>
          </a:prstGeom>
          <a:ln w="127000" cap="sq">
            <a:solidFill>
              <a:srgbClr val="000000"/>
            </a:solidFill>
            <a:miter lim="800000"/>
          </a:ln>
          <a:effectLst>
            <a:outerShdw blurRad="57150" dist="50800" dir="2700000" algn="tl" rotWithShape="0">
              <a:srgbClr val="000000">
                <a:alpha val="4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58915736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593BE164-C020-CDCB-F0A2-F62754732C1C}"/>
              </a:ext>
            </a:extLst>
          </p:cNvPr>
          <p:cNvSpPr txBox="1"/>
          <p:nvPr/>
        </p:nvSpPr>
        <p:spPr>
          <a:xfrm>
            <a:off x="927100" y="1418431"/>
            <a:ext cx="906780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lt-LT" sz="2400" dirty="0"/>
              <a:t>SKAITMENIZUOTOS SISTEMOS GALVIJŲ REPRODUKCINIO PROCESO VALDYMUI SU VIDINIAIS JUTIKLIAIS</a:t>
            </a:r>
            <a:endParaRPr lang="en-GB" sz="2400" dirty="0"/>
          </a:p>
        </p:txBody>
      </p:sp>
      <p:pic>
        <p:nvPicPr>
          <p:cNvPr id="3" name="Paveikslėlis 2">
            <a:extLst>
              <a:ext uri="{FF2B5EF4-FFF2-40B4-BE49-F238E27FC236}">
                <a16:creationId xmlns:a16="http://schemas.microsoft.com/office/drawing/2014/main" id="{CE497306-5C91-FB10-F518-69B379FC909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56700" y="199231"/>
            <a:ext cx="1337673" cy="1337673"/>
          </a:xfrm>
          <a:prstGeom prst="rect">
            <a:avLst/>
          </a:prstGeom>
        </p:spPr>
      </p:pic>
      <p:pic>
        <p:nvPicPr>
          <p:cNvPr id="6" name="Grafik 3">
            <a:extLst>
              <a:ext uri="{FF2B5EF4-FFF2-40B4-BE49-F238E27FC236}">
                <a16:creationId xmlns:a16="http://schemas.microsoft.com/office/drawing/2014/main" id="{A04D51E0-D6DF-0994-7D8B-204B553C27D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49956" y="2464492"/>
            <a:ext cx="2800953" cy="1804164"/>
          </a:xfrm>
          <a:prstGeom prst="rect">
            <a:avLst/>
          </a:prstGeom>
        </p:spPr>
      </p:pic>
      <p:pic>
        <p:nvPicPr>
          <p:cNvPr id="7" name="Picture 6" descr="Image result for smaxtec base station">
            <a:extLst>
              <a:ext uri="{FF2B5EF4-FFF2-40B4-BE49-F238E27FC236}">
                <a16:creationId xmlns:a16="http://schemas.microsoft.com/office/drawing/2014/main" id="{23A509D3-8A9A-A3E4-A04A-F6508F91C9B2}"/>
              </a:ext>
            </a:extLst>
          </p:cNvPr>
          <p:cNvPicPr>
            <a:picLocks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11" t="3893" r="11655" b="3902"/>
          <a:stretch>
            <a:fillRect/>
          </a:stretch>
        </p:blipFill>
        <p:spPr bwMode="gray">
          <a:xfrm>
            <a:off x="4575717" y="2675922"/>
            <a:ext cx="682480" cy="1108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63">
            <a:extLst>
              <a:ext uri="{FF2B5EF4-FFF2-40B4-BE49-F238E27FC236}">
                <a16:creationId xmlns:a16="http://schemas.microsoft.com/office/drawing/2014/main" id="{C0B537BA-9B20-4CB9-BF5B-6F14DCE577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074" t="12907" r="33916" b="23073"/>
          <a:stretch>
            <a:fillRect/>
          </a:stretch>
        </p:blipFill>
        <p:spPr bwMode="gray">
          <a:xfrm rot="20618491">
            <a:off x="6438177" y="2895018"/>
            <a:ext cx="548959" cy="9594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6">
            <a:extLst>
              <a:ext uri="{FF2B5EF4-FFF2-40B4-BE49-F238E27FC236}">
                <a16:creationId xmlns:a16="http://schemas.microsoft.com/office/drawing/2014/main" id="{5F652C04-C1CE-5BF9-4DC1-A7D0DAE00A9D}"/>
              </a:ext>
            </a:extLst>
          </p:cNvPr>
          <p:cNvGrpSpPr>
            <a:grpSpLocks/>
          </p:cNvGrpSpPr>
          <p:nvPr/>
        </p:nvGrpSpPr>
        <p:grpSpPr bwMode="auto">
          <a:xfrm>
            <a:off x="8315299" y="2808868"/>
            <a:ext cx="1116012" cy="708025"/>
            <a:chOff x="6806945" y="1156524"/>
            <a:chExt cx="1115802" cy="707996"/>
          </a:xfrm>
        </p:grpSpPr>
        <p:sp>
          <p:nvSpPr>
            <p:cNvPr id="10" name="Freeform 1">
              <a:extLst>
                <a:ext uri="{FF2B5EF4-FFF2-40B4-BE49-F238E27FC236}">
                  <a16:creationId xmlns:a16="http://schemas.microsoft.com/office/drawing/2014/main" id="{6F59CD69-1383-77EA-249E-5B98A96D63D9}"/>
                </a:ext>
              </a:extLst>
            </p:cNvPr>
            <p:cNvSpPr/>
            <p:nvPr/>
          </p:nvSpPr>
          <p:spPr>
            <a:xfrm>
              <a:off x="6989473" y="1340666"/>
              <a:ext cx="933274" cy="523854"/>
            </a:xfrm>
            <a:custGeom>
              <a:avLst/>
              <a:gdLst>
                <a:gd name="connsiteX0" fmla="*/ 107156 w 933450"/>
                <a:gd name="connsiteY0" fmla="*/ 523875 h 523875"/>
                <a:gd name="connsiteX1" fmla="*/ 816769 w 933450"/>
                <a:gd name="connsiteY1" fmla="*/ 523875 h 523875"/>
                <a:gd name="connsiteX2" fmla="*/ 933450 w 933450"/>
                <a:gd name="connsiteY2" fmla="*/ 397669 h 523875"/>
                <a:gd name="connsiteX3" fmla="*/ 828675 w 933450"/>
                <a:gd name="connsiteY3" fmla="*/ 240506 h 523875"/>
                <a:gd name="connsiteX4" fmla="*/ 759619 w 933450"/>
                <a:gd name="connsiteY4" fmla="*/ 83344 h 523875"/>
                <a:gd name="connsiteX5" fmla="*/ 559594 w 933450"/>
                <a:gd name="connsiteY5" fmla="*/ 0 h 523875"/>
                <a:gd name="connsiteX6" fmla="*/ 345281 w 933450"/>
                <a:gd name="connsiteY6" fmla="*/ 150019 h 523875"/>
                <a:gd name="connsiteX7" fmla="*/ 202406 w 933450"/>
                <a:gd name="connsiteY7" fmla="*/ 188119 h 523875"/>
                <a:gd name="connsiteX8" fmla="*/ 133350 w 933450"/>
                <a:gd name="connsiteY8" fmla="*/ 271462 h 523875"/>
                <a:gd name="connsiteX9" fmla="*/ 0 w 933450"/>
                <a:gd name="connsiteY9" fmla="*/ 400050 h 523875"/>
                <a:gd name="connsiteX10" fmla="*/ 45244 w 933450"/>
                <a:gd name="connsiteY10" fmla="*/ 495300 h 523875"/>
                <a:gd name="connsiteX11" fmla="*/ 107156 w 933450"/>
                <a:gd name="connsiteY11" fmla="*/ 523875 h 523875"/>
                <a:gd name="connsiteX0" fmla="*/ 107156 w 933793"/>
                <a:gd name="connsiteY0" fmla="*/ 523875 h 523875"/>
                <a:gd name="connsiteX1" fmla="*/ 816769 w 933793"/>
                <a:gd name="connsiteY1" fmla="*/ 523875 h 523875"/>
                <a:gd name="connsiteX2" fmla="*/ 933450 w 933793"/>
                <a:gd name="connsiteY2" fmla="*/ 397669 h 523875"/>
                <a:gd name="connsiteX3" fmla="*/ 828675 w 933793"/>
                <a:gd name="connsiteY3" fmla="*/ 240506 h 523875"/>
                <a:gd name="connsiteX4" fmla="*/ 759619 w 933793"/>
                <a:gd name="connsiteY4" fmla="*/ 83344 h 523875"/>
                <a:gd name="connsiteX5" fmla="*/ 559594 w 933793"/>
                <a:gd name="connsiteY5" fmla="*/ 0 h 523875"/>
                <a:gd name="connsiteX6" fmla="*/ 345281 w 933793"/>
                <a:gd name="connsiteY6" fmla="*/ 150019 h 523875"/>
                <a:gd name="connsiteX7" fmla="*/ 202406 w 933793"/>
                <a:gd name="connsiteY7" fmla="*/ 188119 h 523875"/>
                <a:gd name="connsiteX8" fmla="*/ 133350 w 933793"/>
                <a:gd name="connsiteY8" fmla="*/ 271462 h 523875"/>
                <a:gd name="connsiteX9" fmla="*/ 0 w 933793"/>
                <a:gd name="connsiteY9" fmla="*/ 400050 h 523875"/>
                <a:gd name="connsiteX10" fmla="*/ 45244 w 933793"/>
                <a:gd name="connsiteY10" fmla="*/ 495300 h 523875"/>
                <a:gd name="connsiteX11" fmla="*/ 107156 w 933793"/>
                <a:gd name="connsiteY11" fmla="*/ 523875 h 523875"/>
                <a:gd name="connsiteX0" fmla="*/ 107156 w 936993"/>
                <a:gd name="connsiteY0" fmla="*/ 523875 h 523875"/>
                <a:gd name="connsiteX1" fmla="*/ 816769 w 936993"/>
                <a:gd name="connsiteY1" fmla="*/ 523875 h 523875"/>
                <a:gd name="connsiteX2" fmla="*/ 933450 w 936993"/>
                <a:gd name="connsiteY2" fmla="*/ 397669 h 523875"/>
                <a:gd name="connsiteX3" fmla="*/ 828675 w 936993"/>
                <a:gd name="connsiteY3" fmla="*/ 240506 h 523875"/>
                <a:gd name="connsiteX4" fmla="*/ 759619 w 936993"/>
                <a:gd name="connsiteY4" fmla="*/ 83344 h 523875"/>
                <a:gd name="connsiteX5" fmla="*/ 559594 w 936993"/>
                <a:gd name="connsiteY5" fmla="*/ 0 h 523875"/>
                <a:gd name="connsiteX6" fmla="*/ 345281 w 936993"/>
                <a:gd name="connsiteY6" fmla="*/ 150019 h 523875"/>
                <a:gd name="connsiteX7" fmla="*/ 202406 w 936993"/>
                <a:gd name="connsiteY7" fmla="*/ 188119 h 523875"/>
                <a:gd name="connsiteX8" fmla="*/ 133350 w 936993"/>
                <a:gd name="connsiteY8" fmla="*/ 271462 h 523875"/>
                <a:gd name="connsiteX9" fmla="*/ 0 w 936993"/>
                <a:gd name="connsiteY9" fmla="*/ 400050 h 523875"/>
                <a:gd name="connsiteX10" fmla="*/ 45244 w 936993"/>
                <a:gd name="connsiteY10" fmla="*/ 495300 h 523875"/>
                <a:gd name="connsiteX11" fmla="*/ 107156 w 936993"/>
                <a:gd name="connsiteY11" fmla="*/ 523875 h 523875"/>
                <a:gd name="connsiteX0" fmla="*/ 107156 w 941041"/>
                <a:gd name="connsiteY0" fmla="*/ 523875 h 523875"/>
                <a:gd name="connsiteX1" fmla="*/ 816769 w 941041"/>
                <a:gd name="connsiteY1" fmla="*/ 523875 h 523875"/>
                <a:gd name="connsiteX2" fmla="*/ 933450 w 941041"/>
                <a:gd name="connsiteY2" fmla="*/ 397669 h 523875"/>
                <a:gd name="connsiteX3" fmla="*/ 828675 w 941041"/>
                <a:gd name="connsiteY3" fmla="*/ 240506 h 523875"/>
                <a:gd name="connsiteX4" fmla="*/ 759619 w 941041"/>
                <a:gd name="connsiteY4" fmla="*/ 83344 h 523875"/>
                <a:gd name="connsiteX5" fmla="*/ 559594 w 941041"/>
                <a:gd name="connsiteY5" fmla="*/ 0 h 523875"/>
                <a:gd name="connsiteX6" fmla="*/ 345281 w 941041"/>
                <a:gd name="connsiteY6" fmla="*/ 150019 h 523875"/>
                <a:gd name="connsiteX7" fmla="*/ 202406 w 941041"/>
                <a:gd name="connsiteY7" fmla="*/ 188119 h 523875"/>
                <a:gd name="connsiteX8" fmla="*/ 133350 w 941041"/>
                <a:gd name="connsiteY8" fmla="*/ 271462 h 523875"/>
                <a:gd name="connsiteX9" fmla="*/ 0 w 941041"/>
                <a:gd name="connsiteY9" fmla="*/ 400050 h 523875"/>
                <a:gd name="connsiteX10" fmla="*/ 45244 w 941041"/>
                <a:gd name="connsiteY10" fmla="*/ 495300 h 523875"/>
                <a:gd name="connsiteX11" fmla="*/ 107156 w 941041"/>
                <a:gd name="connsiteY11" fmla="*/ 523875 h 523875"/>
                <a:gd name="connsiteX0" fmla="*/ 107156 w 949167"/>
                <a:gd name="connsiteY0" fmla="*/ 523875 h 523875"/>
                <a:gd name="connsiteX1" fmla="*/ 816769 w 949167"/>
                <a:gd name="connsiteY1" fmla="*/ 523875 h 523875"/>
                <a:gd name="connsiteX2" fmla="*/ 933450 w 949167"/>
                <a:gd name="connsiteY2" fmla="*/ 397669 h 523875"/>
                <a:gd name="connsiteX3" fmla="*/ 828675 w 949167"/>
                <a:gd name="connsiteY3" fmla="*/ 240506 h 523875"/>
                <a:gd name="connsiteX4" fmla="*/ 759619 w 949167"/>
                <a:gd name="connsiteY4" fmla="*/ 83344 h 523875"/>
                <a:gd name="connsiteX5" fmla="*/ 559594 w 949167"/>
                <a:gd name="connsiteY5" fmla="*/ 0 h 523875"/>
                <a:gd name="connsiteX6" fmla="*/ 345281 w 949167"/>
                <a:gd name="connsiteY6" fmla="*/ 150019 h 523875"/>
                <a:gd name="connsiteX7" fmla="*/ 202406 w 949167"/>
                <a:gd name="connsiteY7" fmla="*/ 188119 h 523875"/>
                <a:gd name="connsiteX8" fmla="*/ 133350 w 949167"/>
                <a:gd name="connsiteY8" fmla="*/ 271462 h 523875"/>
                <a:gd name="connsiteX9" fmla="*/ 0 w 949167"/>
                <a:gd name="connsiteY9" fmla="*/ 400050 h 523875"/>
                <a:gd name="connsiteX10" fmla="*/ 45244 w 949167"/>
                <a:gd name="connsiteY10" fmla="*/ 495300 h 523875"/>
                <a:gd name="connsiteX11" fmla="*/ 107156 w 949167"/>
                <a:gd name="connsiteY11" fmla="*/ 523875 h 523875"/>
                <a:gd name="connsiteX0" fmla="*/ 107156 w 933064"/>
                <a:gd name="connsiteY0" fmla="*/ 523875 h 523875"/>
                <a:gd name="connsiteX1" fmla="*/ 816769 w 933064"/>
                <a:gd name="connsiteY1" fmla="*/ 523875 h 523875"/>
                <a:gd name="connsiteX2" fmla="*/ 912019 w 933064"/>
                <a:gd name="connsiteY2" fmla="*/ 328613 h 523875"/>
                <a:gd name="connsiteX3" fmla="*/ 828675 w 933064"/>
                <a:gd name="connsiteY3" fmla="*/ 240506 h 523875"/>
                <a:gd name="connsiteX4" fmla="*/ 759619 w 933064"/>
                <a:gd name="connsiteY4" fmla="*/ 83344 h 523875"/>
                <a:gd name="connsiteX5" fmla="*/ 559594 w 933064"/>
                <a:gd name="connsiteY5" fmla="*/ 0 h 523875"/>
                <a:gd name="connsiteX6" fmla="*/ 345281 w 933064"/>
                <a:gd name="connsiteY6" fmla="*/ 150019 h 523875"/>
                <a:gd name="connsiteX7" fmla="*/ 202406 w 933064"/>
                <a:gd name="connsiteY7" fmla="*/ 188119 h 523875"/>
                <a:gd name="connsiteX8" fmla="*/ 133350 w 933064"/>
                <a:gd name="connsiteY8" fmla="*/ 271462 h 523875"/>
                <a:gd name="connsiteX9" fmla="*/ 0 w 933064"/>
                <a:gd name="connsiteY9" fmla="*/ 400050 h 523875"/>
                <a:gd name="connsiteX10" fmla="*/ 45244 w 933064"/>
                <a:gd name="connsiteY10" fmla="*/ 495300 h 523875"/>
                <a:gd name="connsiteX11" fmla="*/ 107156 w 933064"/>
                <a:gd name="connsiteY11" fmla="*/ 523875 h 523875"/>
                <a:gd name="connsiteX0" fmla="*/ 107156 w 931400"/>
                <a:gd name="connsiteY0" fmla="*/ 523875 h 523875"/>
                <a:gd name="connsiteX1" fmla="*/ 816769 w 931400"/>
                <a:gd name="connsiteY1" fmla="*/ 523875 h 523875"/>
                <a:gd name="connsiteX2" fmla="*/ 909638 w 931400"/>
                <a:gd name="connsiteY2" fmla="*/ 311945 h 523875"/>
                <a:gd name="connsiteX3" fmla="*/ 828675 w 931400"/>
                <a:gd name="connsiteY3" fmla="*/ 240506 h 523875"/>
                <a:gd name="connsiteX4" fmla="*/ 759619 w 931400"/>
                <a:gd name="connsiteY4" fmla="*/ 83344 h 523875"/>
                <a:gd name="connsiteX5" fmla="*/ 559594 w 931400"/>
                <a:gd name="connsiteY5" fmla="*/ 0 h 523875"/>
                <a:gd name="connsiteX6" fmla="*/ 345281 w 931400"/>
                <a:gd name="connsiteY6" fmla="*/ 150019 h 523875"/>
                <a:gd name="connsiteX7" fmla="*/ 202406 w 931400"/>
                <a:gd name="connsiteY7" fmla="*/ 188119 h 523875"/>
                <a:gd name="connsiteX8" fmla="*/ 133350 w 931400"/>
                <a:gd name="connsiteY8" fmla="*/ 271462 h 523875"/>
                <a:gd name="connsiteX9" fmla="*/ 0 w 931400"/>
                <a:gd name="connsiteY9" fmla="*/ 400050 h 523875"/>
                <a:gd name="connsiteX10" fmla="*/ 45244 w 931400"/>
                <a:gd name="connsiteY10" fmla="*/ 495300 h 523875"/>
                <a:gd name="connsiteX11" fmla="*/ 107156 w 931400"/>
                <a:gd name="connsiteY11" fmla="*/ 523875 h 523875"/>
                <a:gd name="connsiteX0" fmla="*/ 107156 w 931400"/>
                <a:gd name="connsiteY0" fmla="*/ 523875 h 523875"/>
                <a:gd name="connsiteX1" fmla="*/ 816769 w 931400"/>
                <a:gd name="connsiteY1" fmla="*/ 523875 h 523875"/>
                <a:gd name="connsiteX2" fmla="*/ 909638 w 931400"/>
                <a:gd name="connsiteY2" fmla="*/ 311945 h 523875"/>
                <a:gd name="connsiteX3" fmla="*/ 828675 w 931400"/>
                <a:gd name="connsiteY3" fmla="*/ 240506 h 523875"/>
                <a:gd name="connsiteX4" fmla="*/ 759619 w 931400"/>
                <a:gd name="connsiteY4" fmla="*/ 83344 h 523875"/>
                <a:gd name="connsiteX5" fmla="*/ 559594 w 931400"/>
                <a:gd name="connsiteY5" fmla="*/ 0 h 523875"/>
                <a:gd name="connsiteX6" fmla="*/ 345281 w 931400"/>
                <a:gd name="connsiteY6" fmla="*/ 150019 h 523875"/>
                <a:gd name="connsiteX7" fmla="*/ 202406 w 931400"/>
                <a:gd name="connsiteY7" fmla="*/ 188119 h 523875"/>
                <a:gd name="connsiteX8" fmla="*/ 133350 w 931400"/>
                <a:gd name="connsiteY8" fmla="*/ 271462 h 523875"/>
                <a:gd name="connsiteX9" fmla="*/ 0 w 931400"/>
                <a:gd name="connsiteY9" fmla="*/ 400050 h 523875"/>
                <a:gd name="connsiteX10" fmla="*/ 45244 w 931400"/>
                <a:gd name="connsiteY10" fmla="*/ 495300 h 523875"/>
                <a:gd name="connsiteX11" fmla="*/ 107156 w 931400"/>
                <a:gd name="connsiteY11" fmla="*/ 523875 h 523875"/>
                <a:gd name="connsiteX0" fmla="*/ 107156 w 931400"/>
                <a:gd name="connsiteY0" fmla="*/ 523875 h 523875"/>
                <a:gd name="connsiteX1" fmla="*/ 816769 w 931400"/>
                <a:gd name="connsiteY1" fmla="*/ 523875 h 523875"/>
                <a:gd name="connsiteX2" fmla="*/ 909638 w 931400"/>
                <a:gd name="connsiteY2" fmla="*/ 311945 h 523875"/>
                <a:gd name="connsiteX3" fmla="*/ 828675 w 931400"/>
                <a:gd name="connsiteY3" fmla="*/ 240506 h 523875"/>
                <a:gd name="connsiteX4" fmla="*/ 792956 w 931400"/>
                <a:gd name="connsiteY4" fmla="*/ 164306 h 523875"/>
                <a:gd name="connsiteX5" fmla="*/ 759619 w 931400"/>
                <a:gd name="connsiteY5" fmla="*/ 83344 h 523875"/>
                <a:gd name="connsiteX6" fmla="*/ 559594 w 931400"/>
                <a:gd name="connsiteY6" fmla="*/ 0 h 523875"/>
                <a:gd name="connsiteX7" fmla="*/ 345281 w 931400"/>
                <a:gd name="connsiteY7" fmla="*/ 150019 h 523875"/>
                <a:gd name="connsiteX8" fmla="*/ 202406 w 931400"/>
                <a:gd name="connsiteY8" fmla="*/ 188119 h 523875"/>
                <a:gd name="connsiteX9" fmla="*/ 133350 w 931400"/>
                <a:gd name="connsiteY9" fmla="*/ 271462 h 523875"/>
                <a:gd name="connsiteX10" fmla="*/ 0 w 931400"/>
                <a:gd name="connsiteY10" fmla="*/ 400050 h 523875"/>
                <a:gd name="connsiteX11" fmla="*/ 45244 w 931400"/>
                <a:gd name="connsiteY11" fmla="*/ 495300 h 523875"/>
                <a:gd name="connsiteX12" fmla="*/ 107156 w 931400"/>
                <a:gd name="connsiteY12" fmla="*/ 523875 h 523875"/>
                <a:gd name="connsiteX0" fmla="*/ 107156 w 931400"/>
                <a:gd name="connsiteY0" fmla="*/ 523875 h 523875"/>
                <a:gd name="connsiteX1" fmla="*/ 816769 w 931400"/>
                <a:gd name="connsiteY1" fmla="*/ 523875 h 523875"/>
                <a:gd name="connsiteX2" fmla="*/ 909638 w 931400"/>
                <a:gd name="connsiteY2" fmla="*/ 311945 h 523875"/>
                <a:gd name="connsiteX3" fmla="*/ 828675 w 931400"/>
                <a:gd name="connsiteY3" fmla="*/ 240506 h 523875"/>
                <a:gd name="connsiteX4" fmla="*/ 792956 w 931400"/>
                <a:gd name="connsiteY4" fmla="*/ 140494 h 523875"/>
                <a:gd name="connsiteX5" fmla="*/ 759619 w 931400"/>
                <a:gd name="connsiteY5" fmla="*/ 83344 h 523875"/>
                <a:gd name="connsiteX6" fmla="*/ 559594 w 931400"/>
                <a:gd name="connsiteY6" fmla="*/ 0 h 523875"/>
                <a:gd name="connsiteX7" fmla="*/ 345281 w 931400"/>
                <a:gd name="connsiteY7" fmla="*/ 150019 h 523875"/>
                <a:gd name="connsiteX8" fmla="*/ 202406 w 931400"/>
                <a:gd name="connsiteY8" fmla="*/ 188119 h 523875"/>
                <a:gd name="connsiteX9" fmla="*/ 133350 w 931400"/>
                <a:gd name="connsiteY9" fmla="*/ 271462 h 523875"/>
                <a:gd name="connsiteX10" fmla="*/ 0 w 931400"/>
                <a:gd name="connsiteY10" fmla="*/ 400050 h 523875"/>
                <a:gd name="connsiteX11" fmla="*/ 45244 w 931400"/>
                <a:gd name="connsiteY11" fmla="*/ 495300 h 523875"/>
                <a:gd name="connsiteX12" fmla="*/ 107156 w 931400"/>
                <a:gd name="connsiteY12" fmla="*/ 523875 h 523875"/>
                <a:gd name="connsiteX0" fmla="*/ 107156 w 931400"/>
                <a:gd name="connsiteY0" fmla="*/ 523875 h 523875"/>
                <a:gd name="connsiteX1" fmla="*/ 816769 w 931400"/>
                <a:gd name="connsiteY1" fmla="*/ 523875 h 523875"/>
                <a:gd name="connsiteX2" fmla="*/ 909638 w 931400"/>
                <a:gd name="connsiteY2" fmla="*/ 311945 h 523875"/>
                <a:gd name="connsiteX3" fmla="*/ 828675 w 931400"/>
                <a:gd name="connsiteY3" fmla="*/ 240506 h 523875"/>
                <a:gd name="connsiteX4" fmla="*/ 792956 w 931400"/>
                <a:gd name="connsiteY4" fmla="*/ 140494 h 523875"/>
                <a:gd name="connsiteX5" fmla="*/ 759619 w 931400"/>
                <a:gd name="connsiteY5" fmla="*/ 83344 h 523875"/>
                <a:gd name="connsiteX6" fmla="*/ 559594 w 931400"/>
                <a:gd name="connsiteY6" fmla="*/ 0 h 523875"/>
                <a:gd name="connsiteX7" fmla="*/ 345281 w 931400"/>
                <a:gd name="connsiteY7" fmla="*/ 150019 h 523875"/>
                <a:gd name="connsiteX8" fmla="*/ 202406 w 931400"/>
                <a:gd name="connsiteY8" fmla="*/ 188119 h 523875"/>
                <a:gd name="connsiteX9" fmla="*/ 133350 w 931400"/>
                <a:gd name="connsiteY9" fmla="*/ 271462 h 523875"/>
                <a:gd name="connsiteX10" fmla="*/ 0 w 931400"/>
                <a:gd name="connsiteY10" fmla="*/ 400050 h 523875"/>
                <a:gd name="connsiteX11" fmla="*/ 45244 w 931400"/>
                <a:gd name="connsiteY11" fmla="*/ 495300 h 523875"/>
                <a:gd name="connsiteX12" fmla="*/ 107156 w 931400"/>
                <a:gd name="connsiteY12" fmla="*/ 523875 h 523875"/>
                <a:gd name="connsiteX0" fmla="*/ 107156 w 931400"/>
                <a:gd name="connsiteY0" fmla="*/ 523875 h 523875"/>
                <a:gd name="connsiteX1" fmla="*/ 816769 w 931400"/>
                <a:gd name="connsiteY1" fmla="*/ 523875 h 523875"/>
                <a:gd name="connsiteX2" fmla="*/ 909638 w 931400"/>
                <a:gd name="connsiteY2" fmla="*/ 311945 h 523875"/>
                <a:gd name="connsiteX3" fmla="*/ 828675 w 931400"/>
                <a:gd name="connsiteY3" fmla="*/ 240506 h 523875"/>
                <a:gd name="connsiteX4" fmla="*/ 792956 w 931400"/>
                <a:gd name="connsiteY4" fmla="*/ 140494 h 523875"/>
                <a:gd name="connsiteX5" fmla="*/ 759619 w 931400"/>
                <a:gd name="connsiteY5" fmla="*/ 83344 h 523875"/>
                <a:gd name="connsiteX6" fmla="*/ 559594 w 931400"/>
                <a:gd name="connsiteY6" fmla="*/ 0 h 523875"/>
                <a:gd name="connsiteX7" fmla="*/ 345281 w 931400"/>
                <a:gd name="connsiteY7" fmla="*/ 150019 h 523875"/>
                <a:gd name="connsiteX8" fmla="*/ 202406 w 931400"/>
                <a:gd name="connsiteY8" fmla="*/ 188119 h 523875"/>
                <a:gd name="connsiteX9" fmla="*/ 133350 w 931400"/>
                <a:gd name="connsiteY9" fmla="*/ 271462 h 523875"/>
                <a:gd name="connsiteX10" fmla="*/ 0 w 931400"/>
                <a:gd name="connsiteY10" fmla="*/ 400050 h 523875"/>
                <a:gd name="connsiteX11" fmla="*/ 45244 w 931400"/>
                <a:gd name="connsiteY11" fmla="*/ 495300 h 523875"/>
                <a:gd name="connsiteX12" fmla="*/ 107156 w 931400"/>
                <a:gd name="connsiteY12" fmla="*/ 523875 h 523875"/>
                <a:gd name="connsiteX0" fmla="*/ 107156 w 931400"/>
                <a:gd name="connsiteY0" fmla="*/ 540023 h 540023"/>
                <a:gd name="connsiteX1" fmla="*/ 816769 w 931400"/>
                <a:gd name="connsiteY1" fmla="*/ 540023 h 540023"/>
                <a:gd name="connsiteX2" fmla="*/ 909638 w 931400"/>
                <a:gd name="connsiteY2" fmla="*/ 328093 h 540023"/>
                <a:gd name="connsiteX3" fmla="*/ 828675 w 931400"/>
                <a:gd name="connsiteY3" fmla="*/ 256654 h 540023"/>
                <a:gd name="connsiteX4" fmla="*/ 792956 w 931400"/>
                <a:gd name="connsiteY4" fmla="*/ 156642 h 540023"/>
                <a:gd name="connsiteX5" fmla="*/ 759619 w 931400"/>
                <a:gd name="connsiteY5" fmla="*/ 99492 h 540023"/>
                <a:gd name="connsiteX6" fmla="*/ 559594 w 931400"/>
                <a:gd name="connsiteY6" fmla="*/ 16148 h 540023"/>
                <a:gd name="connsiteX7" fmla="*/ 345281 w 931400"/>
                <a:gd name="connsiteY7" fmla="*/ 166167 h 540023"/>
                <a:gd name="connsiteX8" fmla="*/ 202406 w 931400"/>
                <a:gd name="connsiteY8" fmla="*/ 204267 h 540023"/>
                <a:gd name="connsiteX9" fmla="*/ 133350 w 931400"/>
                <a:gd name="connsiteY9" fmla="*/ 287610 h 540023"/>
                <a:gd name="connsiteX10" fmla="*/ 0 w 931400"/>
                <a:gd name="connsiteY10" fmla="*/ 416198 h 540023"/>
                <a:gd name="connsiteX11" fmla="*/ 45244 w 931400"/>
                <a:gd name="connsiteY11" fmla="*/ 511448 h 540023"/>
                <a:gd name="connsiteX12" fmla="*/ 107156 w 931400"/>
                <a:gd name="connsiteY12" fmla="*/ 540023 h 540023"/>
                <a:gd name="connsiteX0" fmla="*/ 107156 w 931400"/>
                <a:gd name="connsiteY0" fmla="*/ 534337 h 534337"/>
                <a:gd name="connsiteX1" fmla="*/ 816769 w 931400"/>
                <a:gd name="connsiteY1" fmla="*/ 534337 h 534337"/>
                <a:gd name="connsiteX2" fmla="*/ 909638 w 931400"/>
                <a:gd name="connsiteY2" fmla="*/ 322407 h 534337"/>
                <a:gd name="connsiteX3" fmla="*/ 828675 w 931400"/>
                <a:gd name="connsiteY3" fmla="*/ 250968 h 534337"/>
                <a:gd name="connsiteX4" fmla="*/ 792956 w 931400"/>
                <a:gd name="connsiteY4" fmla="*/ 150956 h 534337"/>
                <a:gd name="connsiteX5" fmla="*/ 759619 w 931400"/>
                <a:gd name="connsiteY5" fmla="*/ 93806 h 534337"/>
                <a:gd name="connsiteX6" fmla="*/ 559594 w 931400"/>
                <a:gd name="connsiteY6" fmla="*/ 10462 h 534337"/>
                <a:gd name="connsiteX7" fmla="*/ 345281 w 931400"/>
                <a:gd name="connsiteY7" fmla="*/ 160481 h 534337"/>
                <a:gd name="connsiteX8" fmla="*/ 202406 w 931400"/>
                <a:gd name="connsiteY8" fmla="*/ 198581 h 534337"/>
                <a:gd name="connsiteX9" fmla="*/ 133350 w 931400"/>
                <a:gd name="connsiteY9" fmla="*/ 281924 h 534337"/>
                <a:gd name="connsiteX10" fmla="*/ 0 w 931400"/>
                <a:gd name="connsiteY10" fmla="*/ 410512 h 534337"/>
                <a:gd name="connsiteX11" fmla="*/ 45244 w 931400"/>
                <a:gd name="connsiteY11" fmla="*/ 505762 h 534337"/>
                <a:gd name="connsiteX12" fmla="*/ 107156 w 931400"/>
                <a:gd name="connsiteY12" fmla="*/ 534337 h 534337"/>
                <a:gd name="connsiteX0" fmla="*/ 107156 w 931400"/>
                <a:gd name="connsiteY0" fmla="*/ 534337 h 534337"/>
                <a:gd name="connsiteX1" fmla="*/ 816769 w 931400"/>
                <a:gd name="connsiteY1" fmla="*/ 534337 h 534337"/>
                <a:gd name="connsiteX2" fmla="*/ 909638 w 931400"/>
                <a:gd name="connsiteY2" fmla="*/ 322407 h 534337"/>
                <a:gd name="connsiteX3" fmla="*/ 828675 w 931400"/>
                <a:gd name="connsiteY3" fmla="*/ 250968 h 534337"/>
                <a:gd name="connsiteX4" fmla="*/ 792956 w 931400"/>
                <a:gd name="connsiteY4" fmla="*/ 150956 h 534337"/>
                <a:gd name="connsiteX5" fmla="*/ 759619 w 931400"/>
                <a:gd name="connsiteY5" fmla="*/ 93806 h 534337"/>
                <a:gd name="connsiteX6" fmla="*/ 559594 w 931400"/>
                <a:gd name="connsiteY6" fmla="*/ 10462 h 534337"/>
                <a:gd name="connsiteX7" fmla="*/ 345281 w 931400"/>
                <a:gd name="connsiteY7" fmla="*/ 160481 h 534337"/>
                <a:gd name="connsiteX8" fmla="*/ 202406 w 931400"/>
                <a:gd name="connsiteY8" fmla="*/ 198581 h 534337"/>
                <a:gd name="connsiteX9" fmla="*/ 133350 w 931400"/>
                <a:gd name="connsiteY9" fmla="*/ 281924 h 534337"/>
                <a:gd name="connsiteX10" fmla="*/ 0 w 931400"/>
                <a:gd name="connsiteY10" fmla="*/ 410512 h 534337"/>
                <a:gd name="connsiteX11" fmla="*/ 45244 w 931400"/>
                <a:gd name="connsiteY11" fmla="*/ 505762 h 534337"/>
                <a:gd name="connsiteX12" fmla="*/ 107156 w 931400"/>
                <a:gd name="connsiteY12" fmla="*/ 534337 h 534337"/>
                <a:gd name="connsiteX0" fmla="*/ 107156 w 931400"/>
                <a:gd name="connsiteY0" fmla="*/ 534337 h 534337"/>
                <a:gd name="connsiteX1" fmla="*/ 816769 w 931400"/>
                <a:gd name="connsiteY1" fmla="*/ 534337 h 534337"/>
                <a:gd name="connsiteX2" fmla="*/ 909638 w 931400"/>
                <a:gd name="connsiteY2" fmla="*/ 322407 h 534337"/>
                <a:gd name="connsiteX3" fmla="*/ 828675 w 931400"/>
                <a:gd name="connsiteY3" fmla="*/ 250968 h 534337"/>
                <a:gd name="connsiteX4" fmla="*/ 792956 w 931400"/>
                <a:gd name="connsiteY4" fmla="*/ 150956 h 534337"/>
                <a:gd name="connsiteX5" fmla="*/ 759619 w 931400"/>
                <a:gd name="connsiteY5" fmla="*/ 93806 h 534337"/>
                <a:gd name="connsiteX6" fmla="*/ 559594 w 931400"/>
                <a:gd name="connsiteY6" fmla="*/ 10462 h 534337"/>
                <a:gd name="connsiteX7" fmla="*/ 345281 w 931400"/>
                <a:gd name="connsiteY7" fmla="*/ 160481 h 534337"/>
                <a:gd name="connsiteX8" fmla="*/ 202406 w 931400"/>
                <a:gd name="connsiteY8" fmla="*/ 198581 h 534337"/>
                <a:gd name="connsiteX9" fmla="*/ 133350 w 931400"/>
                <a:gd name="connsiteY9" fmla="*/ 281924 h 534337"/>
                <a:gd name="connsiteX10" fmla="*/ 0 w 931400"/>
                <a:gd name="connsiteY10" fmla="*/ 410512 h 534337"/>
                <a:gd name="connsiteX11" fmla="*/ 45244 w 931400"/>
                <a:gd name="connsiteY11" fmla="*/ 505762 h 534337"/>
                <a:gd name="connsiteX12" fmla="*/ 107156 w 931400"/>
                <a:gd name="connsiteY12" fmla="*/ 534337 h 534337"/>
                <a:gd name="connsiteX0" fmla="*/ 107156 w 931400"/>
                <a:gd name="connsiteY0" fmla="*/ 534337 h 534337"/>
                <a:gd name="connsiteX1" fmla="*/ 816769 w 931400"/>
                <a:gd name="connsiteY1" fmla="*/ 534337 h 534337"/>
                <a:gd name="connsiteX2" fmla="*/ 909638 w 931400"/>
                <a:gd name="connsiteY2" fmla="*/ 322407 h 534337"/>
                <a:gd name="connsiteX3" fmla="*/ 828675 w 931400"/>
                <a:gd name="connsiteY3" fmla="*/ 250968 h 534337"/>
                <a:gd name="connsiteX4" fmla="*/ 792956 w 931400"/>
                <a:gd name="connsiteY4" fmla="*/ 150956 h 534337"/>
                <a:gd name="connsiteX5" fmla="*/ 759619 w 931400"/>
                <a:gd name="connsiteY5" fmla="*/ 93806 h 534337"/>
                <a:gd name="connsiteX6" fmla="*/ 559594 w 931400"/>
                <a:gd name="connsiteY6" fmla="*/ 10462 h 534337"/>
                <a:gd name="connsiteX7" fmla="*/ 345281 w 931400"/>
                <a:gd name="connsiteY7" fmla="*/ 160481 h 534337"/>
                <a:gd name="connsiteX8" fmla="*/ 202406 w 931400"/>
                <a:gd name="connsiteY8" fmla="*/ 198581 h 534337"/>
                <a:gd name="connsiteX9" fmla="*/ 133350 w 931400"/>
                <a:gd name="connsiteY9" fmla="*/ 281924 h 534337"/>
                <a:gd name="connsiteX10" fmla="*/ 0 w 931400"/>
                <a:gd name="connsiteY10" fmla="*/ 410512 h 534337"/>
                <a:gd name="connsiteX11" fmla="*/ 45244 w 931400"/>
                <a:gd name="connsiteY11" fmla="*/ 505762 h 534337"/>
                <a:gd name="connsiteX12" fmla="*/ 107156 w 931400"/>
                <a:gd name="connsiteY12" fmla="*/ 534337 h 534337"/>
                <a:gd name="connsiteX0" fmla="*/ 110210 w 934454"/>
                <a:gd name="connsiteY0" fmla="*/ 534337 h 534337"/>
                <a:gd name="connsiteX1" fmla="*/ 819823 w 934454"/>
                <a:gd name="connsiteY1" fmla="*/ 534337 h 534337"/>
                <a:gd name="connsiteX2" fmla="*/ 912692 w 934454"/>
                <a:gd name="connsiteY2" fmla="*/ 322407 h 534337"/>
                <a:gd name="connsiteX3" fmla="*/ 831729 w 934454"/>
                <a:gd name="connsiteY3" fmla="*/ 250968 h 534337"/>
                <a:gd name="connsiteX4" fmla="*/ 796010 w 934454"/>
                <a:gd name="connsiteY4" fmla="*/ 150956 h 534337"/>
                <a:gd name="connsiteX5" fmla="*/ 762673 w 934454"/>
                <a:gd name="connsiteY5" fmla="*/ 93806 h 534337"/>
                <a:gd name="connsiteX6" fmla="*/ 562648 w 934454"/>
                <a:gd name="connsiteY6" fmla="*/ 10462 h 534337"/>
                <a:gd name="connsiteX7" fmla="*/ 348335 w 934454"/>
                <a:gd name="connsiteY7" fmla="*/ 160481 h 534337"/>
                <a:gd name="connsiteX8" fmla="*/ 205460 w 934454"/>
                <a:gd name="connsiteY8" fmla="*/ 198581 h 534337"/>
                <a:gd name="connsiteX9" fmla="*/ 136404 w 934454"/>
                <a:gd name="connsiteY9" fmla="*/ 281924 h 534337"/>
                <a:gd name="connsiteX10" fmla="*/ 3054 w 934454"/>
                <a:gd name="connsiteY10" fmla="*/ 410512 h 534337"/>
                <a:gd name="connsiteX11" fmla="*/ 48298 w 934454"/>
                <a:gd name="connsiteY11" fmla="*/ 505762 h 534337"/>
                <a:gd name="connsiteX12" fmla="*/ 110210 w 934454"/>
                <a:gd name="connsiteY12" fmla="*/ 534337 h 534337"/>
                <a:gd name="connsiteX0" fmla="*/ 108807 w 933051"/>
                <a:gd name="connsiteY0" fmla="*/ 534337 h 534337"/>
                <a:gd name="connsiteX1" fmla="*/ 818420 w 933051"/>
                <a:gd name="connsiteY1" fmla="*/ 534337 h 534337"/>
                <a:gd name="connsiteX2" fmla="*/ 911289 w 933051"/>
                <a:gd name="connsiteY2" fmla="*/ 322407 h 534337"/>
                <a:gd name="connsiteX3" fmla="*/ 830326 w 933051"/>
                <a:gd name="connsiteY3" fmla="*/ 250968 h 534337"/>
                <a:gd name="connsiteX4" fmla="*/ 794607 w 933051"/>
                <a:gd name="connsiteY4" fmla="*/ 150956 h 534337"/>
                <a:gd name="connsiteX5" fmla="*/ 761270 w 933051"/>
                <a:gd name="connsiteY5" fmla="*/ 93806 h 534337"/>
                <a:gd name="connsiteX6" fmla="*/ 561245 w 933051"/>
                <a:gd name="connsiteY6" fmla="*/ 10462 h 534337"/>
                <a:gd name="connsiteX7" fmla="*/ 346932 w 933051"/>
                <a:gd name="connsiteY7" fmla="*/ 160481 h 534337"/>
                <a:gd name="connsiteX8" fmla="*/ 204057 w 933051"/>
                <a:gd name="connsiteY8" fmla="*/ 198581 h 534337"/>
                <a:gd name="connsiteX9" fmla="*/ 135001 w 933051"/>
                <a:gd name="connsiteY9" fmla="*/ 281924 h 534337"/>
                <a:gd name="connsiteX10" fmla="*/ 1651 w 933051"/>
                <a:gd name="connsiteY10" fmla="*/ 410512 h 534337"/>
                <a:gd name="connsiteX11" fmla="*/ 46895 w 933051"/>
                <a:gd name="connsiteY11" fmla="*/ 505762 h 534337"/>
                <a:gd name="connsiteX12" fmla="*/ 108807 w 933051"/>
                <a:gd name="connsiteY12" fmla="*/ 534337 h 534337"/>
                <a:gd name="connsiteX0" fmla="*/ 108807 w 933051"/>
                <a:gd name="connsiteY0" fmla="*/ 534337 h 534337"/>
                <a:gd name="connsiteX1" fmla="*/ 818420 w 933051"/>
                <a:gd name="connsiteY1" fmla="*/ 534337 h 534337"/>
                <a:gd name="connsiteX2" fmla="*/ 911289 w 933051"/>
                <a:gd name="connsiteY2" fmla="*/ 322407 h 534337"/>
                <a:gd name="connsiteX3" fmla="*/ 830326 w 933051"/>
                <a:gd name="connsiteY3" fmla="*/ 250968 h 534337"/>
                <a:gd name="connsiteX4" fmla="*/ 794607 w 933051"/>
                <a:gd name="connsiteY4" fmla="*/ 150956 h 534337"/>
                <a:gd name="connsiteX5" fmla="*/ 761270 w 933051"/>
                <a:gd name="connsiteY5" fmla="*/ 93806 h 534337"/>
                <a:gd name="connsiteX6" fmla="*/ 561245 w 933051"/>
                <a:gd name="connsiteY6" fmla="*/ 10462 h 534337"/>
                <a:gd name="connsiteX7" fmla="*/ 346932 w 933051"/>
                <a:gd name="connsiteY7" fmla="*/ 160481 h 534337"/>
                <a:gd name="connsiteX8" fmla="*/ 204057 w 933051"/>
                <a:gd name="connsiteY8" fmla="*/ 198581 h 534337"/>
                <a:gd name="connsiteX9" fmla="*/ 135001 w 933051"/>
                <a:gd name="connsiteY9" fmla="*/ 281924 h 534337"/>
                <a:gd name="connsiteX10" fmla="*/ 1651 w 933051"/>
                <a:gd name="connsiteY10" fmla="*/ 410512 h 534337"/>
                <a:gd name="connsiteX11" fmla="*/ 46895 w 933051"/>
                <a:gd name="connsiteY11" fmla="*/ 505762 h 534337"/>
                <a:gd name="connsiteX12" fmla="*/ 108807 w 933051"/>
                <a:gd name="connsiteY12" fmla="*/ 534337 h 534337"/>
                <a:gd name="connsiteX0" fmla="*/ 108807 w 933051"/>
                <a:gd name="connsiteY0" fmla="*/ 534337 h 534337"/>
                <a:gd name="connsiteX1" fmla="*/ 818420 w 933051"/>
                <a:gd name="connsiteY1" fmla="*/ 534337 h 534337"/>
                <a:gd name="connsiteX2" fmla="*/ 911289 w 933051"/>
                <a:gd name="connsiteY2" fmla="*/ 322407 h 534337"/>
                <a:gd name="connsiteX3" fmla="*/ 830326 w 933051"/>
                <a:gd name="connsiteY3" fmla="*/ 250968 h 534337"/>
                <a:gd name="connsiteX4" fmla="*/ 794607 w 933051"/>
                <a:gd name="connsiteY4" fmla="*/ 150956 h 534337"/>
                <a:gd name="connsiteX5" fmla="*/ 761270 w 933051"/>
                <a:gd name="connsiteY5" fmla="*/ 93806 h 534337"/>
                <a:gd name="connsiteX6" fmla="*/ 561245 w 933051"/>
                <a:gd name="connsiteY6" fmla="*/ 10462 h 534337"/>
                <a:gd name="connsiteX7" fmla="*/ 346932 w 933051"/>
                <a:gd name="connsiteY7" fmla="*/ 160481 h 534337"/>
                <a:gd name="connsiteX8" fmla="*/ 204057 w 933051"/>
                <a:gd name="connsiteY8" fmla="*/ 198581 h 534337"/>
                <a:gd name="connsiteX9" fmla="*/ 135001 w 933051"/>
                <a:gd name="connsiteY9" fmla="*/ 281924 h 534337"/>
                <a:gd name="connsiteX10" fmla="*/ 1651 w 933051"/>
                <a:gd name="connsiteY10" fmla="*/ 410512 h 534337"/>
                <a:gd name="connsiteX11" fmla="*/ 46895 w 933051"/>
                <a:gd name="connsiteY11" fmla="*/ 505762 h 534337"/>
                <a:gd name="connsiteX12" fmla="*/ 108807 w 933051"/>
                <a:gd name="connsiteY12" fmla="*/ 534337 h 534337"/>
                <a:gd name="connsiteX0" fmla="*/ 108807 w 933051"/>
                <a:gd name="connsiteY0" fmla="*/ 534337 h 534337"/>
                <a:gd name="connsiteX1" fmla="*/ 818420 w 933051"/>
                <a:gd name="connsiteY1" fmla="*/ 534337 h 534337"/>
                <a:gd name="connsiteX2" fmla="*/ 911289 w 933051"/>
                <a:gd name="connsiteY2" fmla="*/ 322407 h 534337"/>
                <a:gd name="connsiteX3" fmla="*/ 830326 w 933051"/>
                <a:gd name="connsiteY3" fmla="*/ 250968 h 534337"/>
                <a:gd name="connsiteX4" fmla="*/ 794607 w 933051"/>
                <a:gd name="connsiteY4" fmla="*/ 150956 h 534337"/>
                <a:gd name="connsiteX5" fmla="*/ 761270 w 933051"/>
                <a:gd name="connsiteY5" fmla="*/ 93806 h 534337"/>
                <a:gd name="connsiteX6" fmla="*/ 561245 w 933051"/>
                <a:gd name="connsiteY6" fmla="*/ 10462 h 534337"/>
                <a:gd name="connsiteX7" fmla="*/ 346932 w 933051"/>
                <a:gd name="connsiteY7" fmla="*/ 160481 h 534337"/>
                <a:gd name="connsiteX8" fmla="*/ 204057 w 933051"/>
                <a:gd name="connsiteY8" fmla="*/ 198581 h 534337"/>
                <a:gd name="connsiteX9" fmla="*/ 135001 w 933051"/>
                <a:gd name="connsiteY9" fmla="*/ 281924 h 534337"/>
                <a:gd name="connsiteX10" fmla="*/ 1651 w 933051"/>
                <a:gd name="connsiteY10" fmla="*/ 410512 h 534337"/>
                <a:gd name="connsiteX11" fmla="*/ 46895 w 933051"/>
                <a:gd name="connsiteY11" fmla="*/ 505762 h 534337"/>
                <a:gd name="connsiteX12" fmla="*/ 108807 w 933051"/>
                <a:gd name="connsiteY12" fmla="*/ 534337 h 534337"/>
                <a:gd name="connsiteX0" fmla="*/ 108807 w 933051"/>
                <a:gd name="connsiteY0" fmla="*/ 534337 h 534337"/>
                <a:gd name="connsiteX1" fmla="*/ 818420 w 933051"/>
                <a:gd name="connsiteY1" fmla="*/ 534337 h 534337"/>
                <a:gd name="connsiteX2" fmla="*/ 911289 w 933051"/>
                <a:gd name="connsiteY2" fmla="*/ 322407 h 534337"/>
                <a:gd name="connsiteX3" fmla="*/ 830326 w 933051"/>
                <a:gd name="connsiteY3" fmla="*/ 250968 h 534337"/>
                <a:gd name="connsiteX4" fmla="*/ 794607 w 933051"/>
                <a:gd name="connsiteY4" fmla="*/ 150956 h 534337"/>
                <a:gd name="connsiteX5" fmla="*/ 761270 w 933051"/>
                <a:gd name="connsiteY5" fmla="*/ 93806 h 534337"/>
                <a:gd name="connsiteX6" fmla="*/ 561245 w 933051"/>
                <a:gd name="connsiteY6" fmla="*/ 10462 h 534337"/>
                <a:gd name="connsiteX7" fmla="*/ 346932 w 933051"/>
                <a:gd name="connsiteY7" fmla="*/ 160481 h 534337"/>
                <a:gd name="connsiteX8" fmla="*/ 204057 w 933051"/>
                <a:gd name="connsiteY8" fmla="*/ 198581 h 534337"/>
                <a:gd name="connsiteX9" fmla="*/ 135001 w 933051"/>
                <a:gd name="connsiteY9" fmla="*/ 281924 h 534337"/>
                <a:gd name="connsiteX10" fmla="*/ 1651 w 933051"/>
                <a:gd name="connsiteY10" fmla="*/ 410512 h 534337"/>
                <a:gd name="connsiteX11" fmla="*/ 46895 w 933051"/>
                <a:gd name="connsiteY11" fmla="*/ 505762 h 534337"/>
                <a:gd name="connsiteX12" fmla="*/ 108807 w 933051"/>
                <a:gd name="connsiteY12" fmla="*/ 534337 h 534337"/>
                <a:gd name="connsiteX0" fmla="*/ 108807 w 933051"/>
                <a:gd name="connsiteY0" fmla="*/ 530749 h 530749"/>
                <a:gd name="connsiteX1" fmla="*/ 818420 w 933051"/>
                <a:gd name="connsiteY1" fmla="*/ 530749 h 530749"/>
                <a:gd name="connsiteX2" fmla="*/ 911289 w 933051"/>
                <a:gd name="connsiteY2" fmla="*/ 318819 h 530749"/>
                <a:gd name="connsiteX3" fmla="*/ 830326 w 933051"/>
                <a:gd name="connsiteY3" fmla="*/ 247380 h 530749"/>
                <a:gd name="connsiteX4" fmla="*/ 794607 w 933051"/>
                <a:gd name="connsiteY4" fmla="*/ 147368 h 530749"/>
                <a:gd name="connsiteX5" fmla="*/ 761270 w 933051"/>
                <a:gd name="connsiteY5" fmla="*/ 90218 h 530749"/>
                <a:gd name="connsiteX6" fmla="*/ 561245 w 933051"/>
                <a:gd name="connsiteY6" fmla="*/ 6874 h 530749"/>
                <a:gd name="connsiteX7" fmla="*/ 346932 w 933051"/>
                <a:gd name="connsiteY7" fmla="*/ 156893 h 530749"/>
                <a:gd name="connsiteX8" fmla="*/ 204057 w 933051"/>
                <a:gd name="connsiteY8" fmla="*/ 194993 h 530749"/>
                <a:gd name="connsiteX9" fmla="*/ 135001 w 933051"/>
                <a:gd name="connsiteY9" fmla="*/ 278336 h 530749"/>
                <a:gd name="connsiteX10" fmla="*/ 1651 w 933051"/>
                <a:gd name="connsiteY10" fmla="*/ 406924 h 530749"/>
                <a:gd name="connsiteX11" fmla="*/ 46895 w 933051"/>
                <a:gd name="connsiteY11" fmla="*/ 502174 h 530749"/>
                <a:gd name="connsiteX12" fmla="*/ 108807 w 933051"/>
                <a:gd name="connsiteY12" fmla="*/ 530749 h 530749"/>
                <a:gd name="connsiteX0" fmla="*/ 108807 w 933051"/>
                <a:gd name="connsiteY0" fmla="*/ 524354 h 524354"/>
                <a:gd name="connsiteX1" fmla="*/ 818420 w 933051"/>
                <a:gd name="connsiteY1" fmla="*/ 524354 h 524354"/>
                <a:gd name="connsiteX2" fmla="*/ 911289 w 933051"/>
                <a:gd name="connsiteY2" fmla="*/ 312424 h 524354"/>
                <a:gd name="connsiteX3" fmla="*/ 830326 w 933051"/>
                <a:gd name="connsiteY3" fmla="*/ 240985 h 524354"/>
                <a:gd name="connsiteX4" fmla="*/ 794607 w 933051"/>
                <a:gd name="connsiteY4" fmla="*/ 140973 h 524354"/>
                <a:gd name="connsiteX5" fmla="*/ 761270 w 933051"/>
                <a:gd name="connsiteY5" fmla="*/ 83823 h 524354"/>
                <a:gd name="connsiteX6" fmla="*/ 561245 w 933051"/>
                <a:gd name="connsiteY6" fmla="*/ 479 h 524354"/>
                <a:gd name="connsiteX7" fmla="*/ 346932 w 933051"/>
                <a:gd name="connsiteY7" fmla="*/ 150498 h 524354"/>
                <a:gd name="connsiteX8" fmla="*/ 204057 w 933051"/>
                <a:gd name="connsiteY8" fmla="*/ 188598 h 524354"/>
                <a:gd name="connsiteX9" fmla="*/ 135001 w 933051"/>
                <a:gd name="connsiteY9" fmla="*/ 271941 h 524354"/>
                <a:gd name="connsiteX10" fmla="*/ 1651 w 933051"/>
                <a:gd name="connsiteY10" fmla="*/ 400529 h 524354"/>
                <a:gd name="connsiteX11" fmla="*/ 46895 w 933051"/>
                <a:gd name="connsiteY11" fmla="*/ 495779 h 524354"/>
                <a:gd name="connsiteX12" fmla="*/ 108807 w 933051"/>
                <a:gd name="connsiteY12" fmla="*/ 524354 h 524354"/>
                <a:gd name="connsiteX0" fmla="*/ 108807 w 933051"/>
                <a:gd name="connsiteY0" fmla="*/ 524354 h 524354"/>
                <a:gd name="connsiteX1" fmla="*/ 818420 w 933051"/>
                <a:gd name="connsiteY1" fmla="*/ 524354 h 524354"/>
                <a:gd name="connsiteX2" fmla="*/ 911289 w 933051"/>
                <a:gd name="connsiteY2" fmla="*/ 312424 h 524354"/>
                <a:gd name="connsiteX3" fmla="*/ 830326 w 933051"/>
                <a:gd name="connsiteY3" fmla="*/ 240985 h 524354"/>
                <a:gd name="connsiteX4" fmla="*/ 794607 w 933051"/>
                <a:gd name="connsiteY4" fmla="*/ 140973 h 524354"/>
                <a:gd name="connsiteX5" fmla="*/ 761270 w 933051"/>
                <a:gd name="connsiteY5" fmla="*/ 83823 h 524354"/>
                <a:gd name="connsiteX6" fmla="*/ 561245 w 933051"/>
                <a:gd name="connsiteY6" fmla="*/ 479 h 524354"/>
                <a:gd name="connsiteX7" fmla="*/ 346932 w 933051"/>
                <a:gd name="connsiteY7" fmla="*/ 150498 h 524354"/>
                <a:gd name="connsiteX8" fmla="*/ 204057 w 933051"/>
                <a:gd name="connsiteY8" fmla="*/ 188598 h 524354"/>
                <a:gd name="connsiteX9" fmla="*/ 135001 w 933051"/>
                <a:gd name="connsiteY9" fmla="*/ 271941 h 524354"/>
                <a:gd name="connsiteX10" fmla="*/ 1651 w 933051"/>
                <a:gd name="connsiteY10" fmla="*/ 400529 h 524354"/>
                <a:gd name="connsiteX11" fmla="*/ 46895 w 933051"/>
                <a:gd name="connsiteY11" fmla="*/ 495779 h 524354"/>
                <a:gd name="connsiteX12" fmla="*/ 108807 w 933051"/>
                <a:gd name="connsiteY12" fmla="*/ 524354 h 524354"/>
                <a:gd name="connsiteX0" fmla="*/ 108807 w 933051"/>
                <a:gd name="connsiteY0" fmla="*/ 524354 h 524354"/>
                <a:gd name="connsiteX1" fmla="*/ 818420 w 933051"/>
                <a:gd name="connsiteY1" fmla="*/ 524354 h 524354"/>
                <a:gd name="connsiteX2" fmla="*/ 911289 w 933051"/>
                <a:gd name="connsiteY2" fmla="*/ 312424 h 524354"/>
                <a:gd name="connsiteX3" fmla="*/ 830326 w 933051"/>
                <a:gd name="connsiteY3" fmla="*/ 240985 h 524354"/>
                <a:gd name="connsiteX4" fmla="*/ 794607 w 933051"/>
                <a:gd name="connsiteY4" fmla="*/ 140973 h 524354"/>
                <a:gd name="connsiteX5" fmla="*/ 761270 w 933051"/>
                <a:gd name="connsiteY5" fmla="*/ 83823 h 524354"/>
                <a:gd name="connsiteX6" fmla="*/ 561245 w 933051"/>
                <a:gd name="connsiteY6" fmla="*/ 479 h 524354"/>
                <a:gd name="connsiteX7" fmla="*/ 346932 w 933051"/>
                <a:gd name="connsiteY7" fmla="*/ 150498 h 524354"/>
                <a:gd name="connsiteX8" fmla="*/ 204057 w 933051"/>
                <a:gd name="connsiteY8" fmla="*/ 188598 h 524354"/>
                <a:gd name="connsiteX9" fmla="*/ 135001 w 933051"/>
                <a:gd name="connsiteY9" fmla="*/ 271941 h 524354"/>
                <a:gd name="connsiteX10" fmla="*/ 1651 w 933051"/>
                <a:gd name="connsiteY10" fmla="*/ 400529 h 524354"/>
                <a:gd name="connsiteX11" fmla="*/ 46895 w 933051"/>
                <a:gd name="connsiteY11" fmla="*/ 495779 h 524354"/>
                <a:gd name="connsiteX12" fmla="*/ 108807 w 933051"/>
                <a:gd name="connsiteY12" fmla="*/ 524354 h 524354"/>
                <a:gd name="connsiteX0" fmla="*/ 108807 w 933051"/>
                <a:gd name="connsiteY0" fmla="*/ 524354 h 524354"/>
                <a:gd name="connsiteX1" fmla="*/ 818420 w 933051"/>
                <a:gd name="connsiteY1" fmla="*/ 524354 h 524354"/>
                <a:gd name="connsiteX2" fmla="*/ 911289 w 933051"/>
                <a:gd name="connsiteY2" fmla="*/ 312424 h 524354"/>
                <a:gd name="connsiteX3" fmla="*/ 830326 w 933051"/>
                <a:gd name="connsiteY3" fmla="*/ 240985 h 524354"/>
                <a:gd name="connsiteX4" fmla="*/ 794607 w 933051"/>
                <a:gd name="connsiteY4" fmla="*/ 140973 h 524354"/>
                <a:gd name="connsiteX5" fmla="*/ 761270 w 933051"/>
                <a:gd name="connsiteY5" fmla="*/ 83823 h 524354"/>
                <a:gd name="connsiteX6" fmla="*/ 561245 w 933051"/>
                <a:gd name="connsiteY6" fmla="*/ 479 h 524354"/>
                <a:gd name="connsiteX7" fmla="*/ 346932 w 933051"/>
                <a:gd name="connsiteY7" fmla="*/ 150498 h 524354"/>
                <a:gd name="connsiteX8" fmla="*/ 204057 w 933051"/>
                <a:gd name="connsiteY8" fmla="*/ 188598 h 524354"/>
                <a:gd name="connsiteX9" fmla="*/ 135001 w 933051"/>
                <a:gd name="connsiteY9" fmla="*/ 271941 h 524354"/>
                <a:gd name="connsiteX10" fmla="*/ 1651 w 933051"/>
                <a:gd name="connsiteY10" fmla="*/ 400529 h 524354"/>
                <a:gd name="connsiteX11" fmla="*/ 46895 w 933051"/>
                <a:gd name="connsiteY11" fmla="*/ 495779 h 524354"/>
                <a:gd name="connsiteX12" fmla="*/ 108807 w 933051"/>
                <a:gd name="connsiteY12" fmla="*/ 524354 h 524354"/>
                <a:gd name="connsiteX0" fmla="*/ 108807 w 933051"/>
                <a:gd name="connsiteY0" fmla="*/ 524354 h 524354"/>
                <a:gd name="connsiteX1" fmla="*/ 818420 w 933051"/>
                <a:gd name="connsiteY1" fmla="*/ 524354 h 524354"/>
                <a:gd name="connsiteX2" fmla="*/ 911289 w 933051"/>
                <a:gd name="connsiteY2" fmla="*/ 312424 h 524354"/>
                <a:gd name="connsiteX3" fmla="*/ 830326 w 933051"/>
                <a:gd name="connsiteY3" fmla="*/ 240985 h 524354"/>
                <a:gd name="connsiteX4" fmla="*/ 794607 w 933051"/>
                <a:gd name="connsiteY4" fmla="*/ 140973 h 524354"/>
                <a:gd name="connsiteX5" fmla="*/ 761270 w 933051"/>
                <a:gd name="connsiteY5" fmla="*/ 83823 h 524354"/>
                <a:gd name="connsiteX6" fmla="*/ 561245 w 933051"/>
                <a:gd name="connsiteY6" fmla="*/ 479 h 524354"/>
                <a:gd name="connsiteX7" fmla="*/ 346932 w 933051"/>
                <a:gd name="connsiteY7" fmla="*/ 150498 h 524354"/>
                <a:gd name="connsiteX8" fmla="*/ 204057 w 933051"/>
                <a:gd name="connsiteY8" fmla="*/ 188598 h 524354"/>
                <a:gd name="connsiteX9" fmla="*/ 135001 w 933051"/>
                <a:gd name="connsiteY9" fmla="*/ 271941 h 524354"/>
                <a:gd name="connsiteX10" fmla="*/ 1651 w 933051"/>
                <a:gd name="connsiteY10" fmla="*/ 400529 h 524354"/>
                <a:gd name="connsiteX11" fmla="*/ 46895 w 933051"/>
                <a:gd name="connsiteY11" fmla="*/ 495779 h 524354"/>
                <a:gd name="connsiteX12" fmla="*/ 108807 w 933051"/>
                <a:gd name="connsiteY12" fmla="*/ 524354 h 524354"/>
                <a:gd name="connsiteX0" fmla="*/ 108807 w 933051"/>
                <a:gd name="connsiteY0" fmla="*/ 524354 h 524354"/>
                <a:gd name="connsiteX1" fmla="*/ 818420 w 933051"/>
                <a:gd name="connsiteY1" fmla="*/ 524354 h 524354"/>
                <a:gd name="connsiteX2" fmla="*/ 911289 w 933051"/>
                <a:gd name="connsiteY2" fmla="*/ 312424 h 524354"/>
                <a:gd name="connsiteX3" fmla="*/ 830326 w 933051"/>
                <a:gd name="connsiteY3" fmla="*/ 240985 h 524354"/>
                <a:gd name="connsiteX4" fmla="*/ 794607 w 933051"/>
                <a:gd name="connsiteY4" fmla="*/ 140973 h 524354"/>
                <a:gd name="connsiteX5" fmla="*/ 761270 w 933051"/>
                <a:gd name="connsiteY5" fmla="*/ 83823 h 524354"/>
                <a:gd name="connsiteX6" fmla="*/ 561245 w 933051"/>
                <a:gd name="connsiteY6" fmla="*/ 479 h 524354"/>
                <a:gd name="connsiteX7" fmla="*/ 346932 w 933051"/>
                <a:gd name="connsiteY7" fmla="*/ 150498 h 524354"/>
                <a:gd name="connsiteX8" fmla="*/ 204057 w 933051"/>
                <a:gd name="connsiteY8" fmla="*/ 188598 h 524354"/>
                <a:gd name="connsiteX9" fmla="*/ 135001 w 933051"/>
                <a:gd name="connsiteY9" fmla="*/ 271941 h 524354"/>
                <a:gd name="connsiteX10" fmla="*/ 1651 w 933051"/>
                <a:gd name="connsiteY10" fmla="*/ 400529 h 524354"/>
                <a:gd name="connsiteX11" fmla="*/ 46895 w 933051"/>
                <a:gd name="connsiteY11" fmla="*/ 495779 h 524354"/>
                <a:gd name="connsiteX12" fmla="*/ 108807 w 933051"/>
                <a:gd name="connsiteY12" fmla="*/ 524354 h 524354"/>
                <a:gd name="connsiteX0" fmla="*/ 108807 w 933051"/>
                <a:gd name="connsiteY0" fmla="*/ 524354 h 524354"/>
                <a:gd name="connsiteX1" fmla="*/ 818420 w 933051"/>
                <a:gd name="connsiteY1" fmla="*/ 524354 h 524354"/>
                <a:gd name="connsiteX2" fmla="*/ 911289 w 933051"/>
                <a:gd name="connsiteY2" fmla="*/ 312424 h 524354"/>
                <a:gd name="connsiteX3" fmla="*/ 830326 w 933051"/>
                <a:gd name="connsiteY3" fmla="*/ 240985 h 524354"/>
                <a:gd name="connsiteX4" fmla="*/ 794607 w 933051"/>
                <a:gd name="connsiteY4" fmla="*/ 140973 h 524354"/>
                <a:gd name="connsiteX5" fmla="*/ 761270 w 933051"/>
                <a:gd name="connsiteY5" fmla="*/ 83823 h 524354"/>
                <a:gd name="connsiteX6" fmla="*/ 561245 w 933051"/>
                <a:gd name="connsiteY6" fmla="*/ 479 h 524354"/>
                <a:gd name="connsiteX7" fmla="*/ 346932 w 933051"/>
                <a:gd name="connsiteY7" fmla="*/ 150498 h 524354"/>
                <a:gd name="connsiteX8" fmla="*/ 204057 w 933051"/>
                <a:gd name="connsiteY8" fmla="*/ 188598 h 524354"/>
                <a:gd name="connsiteX9" fmla="*/ 135001 w 933051"/>
                <a:gd name="connsiteY9" fmla="*/ 271941 h 524354"/>
                <a:gd name="connsiteX10" fmla="*/ 1651 w 933051"/>
                <a:gd name="connsiteY10" fmla="*/ 400529 h 524354"/>
                <a:gd name="connsiteX11" fmla="*/ 46895 w 933051"/>
                <a:gd name="connsiteY11" fmla="*/ 495779 h 524354"/>
                <a:gd name="connsiteX12" fmla="*/ 108807 w 933051"/>
                <a:gd name="connsiteY12" fmla="*/ 524354 h 524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33051" h="524354">
                  <a:moveTo>
                    <a:pt x="108807" y="524354"/>
                  </a:moveTo>
                  <a:lnTo>
                    <a:pt x="818420" y="524354"/>
                  </a:lnTo>
                  <a:cubicBezTo>
                    <a:pt x="956136" y="503320"/>
                    <a:pt x="945023" y="369178"/>
                    <a:pt x="911289" y="312424"/>
                  </a:cubicBezTo>
                  <a:cubicBezTo>
                    <a:pt x="877555" y="255670"/>
                    <a:pt x="849773" y="265591"/>
                    <a:pt x="830326" y="240985"/>
                  </a:cubicBezTo>
                  <a:lnTo>
                    <a:pt x="794607" y="140973"/>
                  </a:lnTo>
                  <a:cubicBezTo>
                    <a:pt x="782701" y="107636"/>
                    <a:pt x="781114" y="123908"/>
                    <a:pt x="761270" y="83823"/>
                  </a:cubicBezTo>
                  <a:cubicBezTo>
                    <a:pt x="694595" y="27467"/>
                    <a:pt x="675546" y="7622"/>
                    <a:pt x="561245" y="479"/>
                  </a:cubicBezTo>
                  <a:cubicBezTo>
                    <a:pt x="446944" y="-6664"/>
                    <a:pt x="380270" y="67156"/>
                    <a:pt x="346932" y="150498"/>
                  </a:cubicBezTo>
                  <a:cubicBezTo>
                    <a:pt x="299307" y="163198"/>
                    <a:pt x="235011" y="156847"/>
                    <a:pt x="204057" y="188598"/>
                  </a:cubicBezTo>
                  <a:cubicBezTo>
                    <a:pt x="173103" y="220349"/>
                    <a:pt x="168735" y="236619"/>
                    <a:pt x="135001" y="271941"/>
                  </a:cubicBezTo>
                  <a:cubicBezTo>
                    <a:pt x="51261" y="285833"/>
                    <a:pt x="11573" y="337029"/>
                    <a:pt x="1651" y="400529"/>
                  </a:cubicBezTo>
                  <a:cubicBezTo>
                    <a:pt x="-8271" y="464029"/>
                    <a:pt x="29036" y="475142"/>
                    <a:pt x="46895" y="495779"/>
                  </a:cubicBezTo>
                  <a:lnTo>
                    <a:pt x="108807" y="524354"/>
                  </a:lnTo>
                  <a:close/>
                </a:path>
              </a:pathLst>
            </a:custGeom>
            <a:solidFill>
              <a:schemeClr val="accent4"/>
            </a:solidFill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>
                <a:solidFill>
                  <a:schemeClr val="accent5"/>
                </a:solidFill>
              </a:endParaRPr>
            </a:p>
          </p:txBody>
        </p:sp>
        <p:sp>
          <p:nvSpPr>
            <p:cNvPr id="11" name="Freeform 2">
              <a:extLst>
                <a:ext uri="{FF2B5EF4-FFF2-40B4-BE49-F238E27FC236}">
                  <a16:creationId xmlns:a16="http://schemas.microsoft.com/office/drawing/2014/main" id="{0EC2D4CE-9825-B532-C9CA-75C582D89E25}"/>
                </a:ext>
              </a:extLst>
            </p:cNvPr>
            <p:cNvSpPr/>
            <p:nvPr/>
          </p:nvSpPr>
          <p:spPr>
            <a:xfrm>
              <a:off x="6806945" y="1156524"/>
              <a:ext cx="720589" cy="695297"/>
            </a:xfrm>
            <a:custGeom>
              <a:avLst/>
              <a:gdLst>
                <a:gd name="connsiteX0" fmla="*/ 176213 w 704850"/>
                <a:gd name="connsiteY0" fmla="*/ 200025 h 661987"/>
                <a:gd name="connsiteX1" fmla="*/ 316707 w 704850"/>
                <a:gd name="connsiteY1" fmla="*/ 0 h 661987"/>
                <a:gd name="connsiteX2" fmla="*/ 704850 w 704850"/>
                <a:gd name="connsiteY2" fmla="*/ 66675 h 661987"/>
                <a:gd name="connsiteX3" fmla="*/ 545307 w 704850"/>
                <a:gd name="connsiteY3" fmla="*/ 135731 h 661987"/>
                <a:gd name="connsiteX4" fmla="*/ 450057 w 704850"/>
                <a:gd name="connsiteY4" fmla="*/ 240506 h 661987"/>
                <a:gd name="connsiteX5" fmla="*/ 264319 w 704850"/>
                <a:gd name="connsiteY5" fmla="*/ 345281 h 661987"/>
                <a:gd name="connsiteX6" fmla="*/ 150019 w 704850"/>
                <a:gd name="connsiteY6" fmla="*/ 661987 h 661987"/>
                <a:gd name="connsiteX7" fmla="*/ 0 w 704850"/>
                <a:gd name="connsiteY7" fmla="*/ 528637 h 661987"/>
                <a:gd name="connsiteX8" fmla="*/ 9525 w 704850"/>
                <a:gd name="connsiteY8" fmla="*/ 326231 h 661987"/>
                <a:gd name="connsiteX9" fmla="*/ 176213 w 704850"/>
                <a:gd name="connsiteY9" fmla="*/ 200025 h 661987"/>
                <a:gd name="connsiteX0" fmla="*/ 176213 w 704850"/>
                <a:gd name="connsiteY0" fmla="*/ 204518 h 666480"/>
                <a:gd name="connsiteX1" fmla="*/ 316707 w 704850"/>
                <a:gd name="connsiteY1" fmla="*/ 4493 h 666480"/>
                <a:gd name="connsiteX2" fmla="*/ 704850 w 704850"/>
                <a:gd name="connsiteY2" fmla="*/ 71168 h 666480"/>
                <a:gd name="connsiteX3" fmla="*/ 545307 w 704850"/>
                <a:gd name="connsiteY3" fmla="*/ 140224 h 666480"/>
                <a:gd name="connsiteX4" fmla="*/ 450057 w 704850"/>
                <a:gd name="connsiteY4" fmla="*/ 244999 h 666480"/>
                <a:gd name="connsiteX5" fmla="*/ 264319 w 704850"/>
                <a:gd name="connsiteY5" fmla="*/ 349774 h 666480"/>
                <a:gd name="connsiteX6" fmla="*/ 150019 w 704850"/>
                <a:gd name="connsiteY6" fmla="*/ 666480 h 666480"/>
                <a:gd name="connsiteX7" fmla="*/ 0 w 704850"/>
                <a:gd name="connsiteY7" fmla="*/ 533130 h 666480"/>
                <a:gd name="connsiteX8" fmla="*/ 9525 w 704850"/>
                <a:gd name="connsiteY8" fmla="*/ 330724 h 666480"/>
                <a:gd name="connsiteX9" fmla="*/ 176213 w 704850"/>
                <a:gd name="connsiteY9" fmla="*/ 204518 h 666480"/>
                <a:gd name="connsiteX0" fmla="*/ 176213 w 704850"/>
                <a:gd name="connsiteY0" fmla="*/ 220468 h 682430"/>
                <a:gd name="connsiteX1" fmla="*/ 316707 w 704850"/>
                <a:gd name="connsiteY1" fmla="*/ 20443 h 682430"/>
                <a:gd name="connsiteX2" fmla="*/ 704850 w 704850"/>
                <a:gd name="connsiteY2" fmla="*/ 87118 h 682430"/>
                <a:gd name="connsiteX3" fmla="*/ 545307 w 704850"/>
                <a:gd name="connsiteY3" fmla="*/ 156174 h 682430"/>
                <a:gd name="connsiteX4" fmla="*/ 450057 w 704850"/>
                <a:gd name="connsiteY4" fmla="*/ 260949 h 682430"/>
                <a:gd name="connsiteX5" fmla="*/ 264319 w 704850"/>
                <a:gd name="connsiteY5" fmla="*/ 365724 h 682430"/>
                <a:gd name="connsiteX6" fmla="*/ 150019 w 704850"/>
                <a:gd name="connsiteY6" fmla="*/ 682430 h 682430"/>
                <a:gd name="connsiteX7" fmla="*/ 0 w 704850"/>
                <a:gd name="connsiteY7" fmla="*/ 549080 h 682430"/>
                <a:gd name="connsiteX8" fmla="*/ 9525 w 704850"/>
                <a:gd name="connsiteY8" fmla="*/ 346674 h 682430"/>
                <a:gd name="connsiteX9" fmla="*/ 176213 w 704850"/>
                <a:gd name="connsiteY9" fmla="*/ 220468 h 682430"/>
                <a:gd name="connsiteX0" fmla="*/ 176213 w 704850"/>
                <a:gd name="connsiteY0" fmla="*/ 231300 h 693262"/>
                <a:gd name="connsiteX1" fmla="*/ 316707 w 704850"/>
                <a:gd name="connsiteY1" fmla="*/ 31275 h 693262"/>
                <a:gd name="connsiteX2" fmla="*/ 704850 w 704850"/>
                <a:gd name="connsiteY2" fmla="*/ 97950 h 693262"/>
                <a:gd name="connsiteX3" fmla="*/ 545307 w 704850"/>
                <a:gd name="connsiteY3" fmla="*/ 167006 h 693262"/>
                <a:gd name="connsiteX4" fmla="*/ 450057 w 704850"/>
                <a:gd name="connsiteY4" fmla="*/ 271781 h 693262"/>
                <a:gd name="connsiteX5" fmla="*/ 264319 w 704850"/>
                <a:gd name="connsiteY5" fmla="*/ 376556 h 693262"/>
                <a:gd name="connsiteX6" fmla="*/ 150019 w 704850"/>
                <a:gd name="connsiteY6" fmla="*/ 693262 h 693262"/>
                <a:gd name="connsiteX7" fmla="*/ 0 w 704850"/>
                <a:gd name="connsiteY7" fmla="*/ 559912 h 693262"/>
                <a:gd name="connsiteX8" fmla="*/ 9525 w 704850"/>
                <a:gd name="connsiteY8" fmla="*/ 357506 h 693262"/>
                <a:gd name="connsiteX9" fmla="*/ 176213 w 704850"/>
                <a:gd name="connsiteY9" fmla="*/ 231300 h 693262"/>
                <a:gd name="connsiteX0" fmla="*/ 191549 w 720186"/>
                <a:gd name="connsiteY0" fmla="*/ 231300 h 693262"/>
                <a:gd name="connsiteX1" fmla="*/ 332043 w 720186"/>
                <a:gd name="connsiteY1" fmla="*/ 31275 h 693262"/>
                <a:gd name="connsiteX2" fmla="*/ 720186 w 720186"/>
                <a:gd name="connsiteY2" fmla="*/ 97950 h 693262"/>
                <a:gd name="connsiteX3" fmla="*/ 560643 w 720186"/>
                <a:gd name="connsiteY3" fmla="*/ 167006 h 693262"/>
                <a:gd name="connsiteX4" fmla="*/ 465393 w 720186"/>
                <a:gd name="connsiteY4" fmla="*/ 271781 h 693262"/>
                <a:gd name="connsiteX5" fmla="*/ 279655 w 720186"/>
                <a:gd name="connsiteY5" fmla="*/ 376556 h 693262"/>
                <a:gd name="connsiteX6" fmla="*/ 165355 w 720186"/>
                <a:gd name="connsiteY6" fmla="*/ 693262 h 693262"/>
                <a:gd name="connsiteX7" fmla="*/ 15336 w 720186"/>
                <a:gd name="connsiteY7" fmla="*/ 559912 h 693262"/>
                <a:gd name="connsiteX8" fmla="*/ 24861 w 720186"/>
                <a:gd name="connsiteY8" fmla="*/ 357506 h 693262"/>
                <a:gd name="connsiteX9" fmla="*/ 191549 w 720186"/>
                <a:gd name="connsiteY9" fmla="*/ 231300 h 693262"/>
                <a:gd name="connsiteX0" fmla="*/ 191549 w 720186"/>
                <a:gd name="connsiteY0" fmla="*/ 231300 h 693262"/>
                <a:gd name="connsiteX1" fmla="*/ 332043 w 720186"/>
                <a:gd name="connsiteY1" fmla="*/ 31275 h 693262"/>
                <a:gd name="connsiteX2" fmla="*/ 720186 w 720186"/>
                <a:gd name="connsiteY2" fmla="*/ 97950 h 693262"/>
                <a:gd name="connsiteX3" fmla="*/ 560643 w 720186"/>
                <a:gd name="connsiteY3" fmla="*/ 167006 h 693262"/>
                <a:gd name="connsiteX4" fmla="*/ 465393 w 720186"/>
                <a:gd name="connsiteY4" fmla="*/ 271781 h 693262"/>
                <a:gd name="connsiteX5" fmla="*/ 279655 w 720186"/>
                <a:gd name="connsiteY5" fmla="*/ 376556 h 693262"/>
                <a:gd name="connsiteX6" fmla="*/ 148686 w 720186"/>
                <a:gd name="connsiteY6" fmla="*/ 693262 h 693262"/>
                <a:gd name="connsiteX7" fmla="*/ 15336 w 720186"/>
                <a:gd name="connsiteY7" fmla="*/ 559912 h 693262"/>
                <a:gd name="connsiteX8" fmla="*/ 24861 w 720186"/>
                <a:gd name="connsiteY8" fmla="*/ 357506 h 693262"/>
                <a:gd name="connsiteX9" fmla="*/ 191549 w 720186"/>
                <a:gd name="connsiteY9" fmla="*/ 231300 h 693262"/>
                <a:gd name="connsiteX0" fmla="*/ 191549 w 720186"/>
                <a:gd name="connsiteY0" fmla="*/ 231300 h 693262"/>
                <a:gd name="connsiteX1" fmla="*/ 332043 w 720186"/>
                <a:gd name="connsiteY1" fmla="*/ 31275 h 693262"/>
                <a:gd name="connsiteX2" fmla="*/ 720186 w 720186"/>
                <a:gd name="connsiteY2" fmla="*/ 97950 h 693262"/>
                <a:gd name="connsiteX3" fmla="*/ 560643 w 720186"/>
                <a:gd name="connsiteY3" fmla="*/ 167006 h 693262"/>
                <a:gd name="connsiteX4" fmla="*/ 465393 w 720186"/>
                <a:gd name="connsiteY4" fmla="*/ 271781 h 693262"/>
                <a:gd name="connsiteX5" fmla="*/ 279655 w 720186"/>
                <a:gd name="connsiteY5" fmla="*/ 376556 h 693262"/>
                <a:gd name="connsiteX6" fmla="*/ 148686 w 720186"/>
                <a:gd name="connsiteY6" fmla="*/ 693262 h 693262"/>
                <a:gd name="connsiteX7" fmla="*/ 15336 w 720186"/>
                <a:gd name="connsiteY7" fmla="*/ 559912 h 693262"/>
                <a:gd name="connsiteX8" fmla="*/ 24861 w 720186"/>
                <a:gd name="connsiteY8" fmla="*/ 357506 h 693262"/>
                <a:gd name="connsiteX9" fmla="*/ 191549 w 720186"/>
                <a:gd name="connsiteY9" fmla="*/ 231300 h 693262"/>
                <a:gd name="connsiteX0" fmla="*/ 191549 w 720186"/>
                <a:gd name="connsiteY0" fmla="*/ 231300 h 693262"/>
                <a:gd name="connsiteX1" fmla="*/ 332043 w 720186"/>
                <a:gd name="connsiteY1" fmla="*/ 31275 h 693262"/>
                <a:gd name="connsiteX2" fmla="*/ 720186 w 720186"/>
                <a:gd name="connsiteY2" fmla="*/ 97950 h 693262"/>
                <a:gd name="connsiteX3" fmla="*/ 560643 w 720186"/>
                <a:gd name="connsiteY3" fmla="*/ 167006 h 693262"/>
                <a:gd name="connsiteX4" fmla="*/ 465393 w 720186"/>
                <a:gd name="connsiteY4" fmla="*/ 271781 h 693262"/>
                <a:gd name="connsiteX5" fmla="*/ 279655 w 720186"/>
                <a:gd name="connsiteY5" fmla="*/ 376556 h 693262"/>
                <a:gd name="connsiteX6" fmla="*/ 148686 w 720186"/>
                <a:gd name="connsiteY6" fmla="*/ 693262 h 693262"/>
                <a:gd name="connsiteX7" fmla="*/ 15336 w 720186"/>
                <a:gd name="connsiteY7" fmla="*/ 559912 h 693262"/>
                <a:gd name="connsiteX8" fmla="*/ 24861 w 720186"/>
                <a:gd name="connsiteY8" fmla="*/ 357506 h 693262"/>
                <a:gd name="connsiteX9" fmla="*/ 191549 w 720186"/>
                <a:gd name="connsiteY9" fmla="*/ 231300 h 693262"/>
                <a:gd name="connsiteX0" fmla="*/ 191549 w 720186"/>
                <a:gd name="connsiteY0" fmla="*/ 231300 h 693262"/>
                <a:gd name="connsiteX1" fmla="*/ 332043 w 720186"/>
                <a:gd name="connsiteY1" fmla="*/ 31275 h 693262"/>
                <a:gd name="connsiteX2" fmla="*/ 720186 w 720186"/>
                <a:gd name="connsiteY2" fmla="*/ 97950 h 693262"/>
                <a:gd name="connsiteX3" fmla="*/ 560643 w 720186"/>
                <a:gd name="connsiteY3" fmla="*/ 167006 h 693262"/>
                <a:gd name="connsiteX4" fmla="*/ 465393 w 720186"/>
                <a:gd name="connsiteY4" fmla="*/ 271781 h 693262"/>
                <a:gd name="connsiteX5" fmla="*/ 279655 w 720186"/>
                <a:gd name="connsiteY5" fmla="*/ 376556 h 693262"/>
                <a:gd name="connsiteX6" fmla="*/ 148686 w 720186"/>
                <a:gd name="connsiteY6" fmla="*/ 693262 h 693262"/>
                <a:gd name="connsiteX7" fmla="*/ 15336 w 720186"/>
                <a:gd name="connsiteY7" fmla="*/ 559912 h 693262"/>
                <a:gd name="connsiteX8" fmla="*/ 24861 w 720186"/>
                <a:gd name="connsiteY8" fmla="*/ 357506 h 693262"/>
                <a:gd name="connsiteX9" fmla="*/ 191549 w 720186"/>
                <a:gd name="connsiteY9" fmla="*/ 231300 h 693262"/>
                <a:gd name="connsiteX0" fmla="*/ 191549 w 720186"/>
                <a:gd name="connsiteY0" fmla="*/ 231300 h 693262"/>
                <a:gd name="connsiteX1" fmla="*/ 332043 w 720186"/>
                <a:gd name="connsiteY1" fmla="*/ 31275 h 693262"/>
                <a:gd name="connsiteX2" fmla="*/ 720186 w 720186"/>
                <a:gd name="connsiteY2" fmla="*/ 97950 h 693262"/>
                <a:gd name="connsiteX3" fmla="*/ 560643 w 720186"/>
                <a:gd name="connsiteY3" fmla="*/ 167006 h 693262"/>
                <a:gd name="connsiteX4" fmla="*/ 465393 w 720186"/>
                <a:gd name="connsiteY4" fmla="*/ 271781 h 693262"/>
                <a:gd name="connsiteX5" fmla="*/ 279655 w 720186"/>
                <a:gd name="connsiteY5" fmla="*/ 376556 h 693262"/>
                <a:gd name="connsiteX6" fmla="*/ 148686 w 720186"/>
                <a:gd name="connsiteY6" fmla="*/ 693262 h 693262"/>
                <a:gd name="connsiteX7" fmla="*/ 15336 w 720186"/>
                <a:gd name="connsiteY7" fmla="*/ 559912 h 693262"/>
                <a:gd name="connsiteX8" fmla="*/ 24861 w 720186"/>
                <a:gd name="connsiteY8" fmla="*/ 357506 h 693262"/>
                <a:gd name="connsiteX9" fmla="*/ 191549 w 720186"/>
                <a:gd name="connsiteY9" fmla="*/ 231300 h 693262"/>
                <a:gd name="connsiteX0" fmla="*/ 191549 w 720186"/>
                <a:gd name="connsiteY0" fmla="*/ 231300 h 693262"/>
                <a:gd name="connsiteX1" fmla="*/ 332043 w 720186"/>
                <a:gd name="connsiteY1" fmla="*/ 31275 h 693262"/>
                <a:gd name="connsiteX2" fmla="*/ 720186 w 720186"/>
                <a:gd name="connsiteY2" fmla="*/ 97950 h 693262"/>
                <a:gd name="connsiteX3" fmla="*/ 560643 w 720186"/>
                <a:gd name="connsiteY3" fmla="*/ 167006 h 693262"/>
                <a:gd name="connsiteX4" fmla="*/ 465393 w 720186"/>
                <a:gd name="connsiteY4" fmla="*/ 271781 h 693262"/>
                <a:gd name="connsiteX5" fmla="*/ 279655 w 720186"/>
                <a:gd name="connsiteY5" fmla="*/ 376556 h 693262"/>
                <a:gd name="connsiteX6" fmla="*/ 148686 w 720186"/>
                <a:gd name="connsiteY6" fmla="*/ 693262 h 693262"/>
                <a:gd name="connsiteX7" fmla="*/ 15336 w 720186"/>
                <a:gd name="connsiteY7" fmla="*/ 559912 h 693262"/>
                <a:gd name="connsiteX8" fmla="*/ 24861 w 720186"/>
                <a:gd name="connsiteY8" fmla="*/ 357506 h 693262"/>
                <a:gd name="connsiteX9" fmla="*/ 191549 w 720186"/>
                <a:gd name="connsiteY9" fmla="*/ 231300 h 693262"/>
                <a:gd name="connsiteX0" fmla="*/ 191549 w 720186"/>
                <a:gd name="connsiteY0" fmla="*/ 231300 h 693262"/>
                <a:gd name="connsiteX1" fmla="*/ 332043 w 720186"/>
                <a:gd name="connsiteY1" fmla="*/ 31275 h 693262"/>
                <a:gd name="connsiteX2" fmla="*/ 720186 w 720186"/>
                <a:gd name="connsiteY2" fmla="*/ 97950 h 693262"/>
                <a:gd name="connsiteX3" fmla="*/ 560643 w 720186"/>
                <a:gd name="connsiteY3" fmla="*/ 167006 h 693262"/>
                <a:gd name="connsiteX4" fmla="*/ 465393 w 720186"/>
                <a:gd name="connsiteY4" fmla="*/ 271781 h 693262"/>
                <a:gd name="connsiteX5" fmla="*/ 279655 w 720186"/>
                <a:gd name="connsiteY5" fmla="*/ 376556 h 693262"/>
                <a:gd name="connsiteX6" fmla="*/ 148686 w 720186"/>
                <a:gd name="connsiteY6" fmla="*/ 693262 h 693262"/>
                <a:gd name="connsiteX7" fmla="*/ 15336 w 720186"/>
                <a:gd name="connsiteY7" fmla="*/ 559912 h 693262"/>
                <a:gd name="connsiteX8" fmla="*/ 24861 w 720186"/>
                <a:gd name="connsiteY8" fmla="*/ 357506 h 693262"/>
                <a:gd name="connsiteX9" fmla="*/ 191549 w 720186"/>
                <a:gd name="connsiteY9" fmla="*/ 231300 h 693262"/>
                <a:gd name="connsiteX0" fmla="*/ 191549 w 720186"/>
                <a:gd name="connsiteY0" fmla="*/ 231300 h 693262"/>
                <a:gd name="connsiteX1" fmla="*/ 332043 w 720186"/>
                <a:gd name="connsiteY1" fmla="*/ 31275 h 693262"/>
                <a:gd name="connsiteX2" fmla="*/ 720186 w 720186"/>
                <a:gd name="connsiteY2" fmla="*/ 97950 h 693262"/>
                <a:gd name="connsiteX3" fmla="*/ 560643 w 720186"/>
                <a:gd name="connsiteY3" fmla="*/ 167006 h 693262"/>
                <a:gd name="connsiteX4" fmla="*/ 465393 w 720186"/>
                <a:gd name="connsiteY4" fmla="*/ 271781 h 693262"/>
                <a:gd name="connsiteX5" fmla="*/ 279655 w 720186"/>
                <a:gd name="connsiteY5" fmla="*/ 376556 h 693262"/>
                <a:gd name="connsiteX6" fmla="*/ 148686 w 720186"/>
                <a:gd name="connsiteY6" fmla="*/ 693262 h 693262"/>
                <a:gd name="connsiteX7" fmla="*/ 15336 w 720186"/>
                <a:gd name="connsiteY7" fmla="*/ 559912 h 693262"/>
                <a:gd name="connsiteX8" fmla="*/ 24861 w 720186"/>
                <a:gd name="connsiteY8" fmla="*/ 357506 h 693262"/>
                <a:gd name="connsiteX9" fmla="*/ 191549 w 720186"/>
                <a:gd name="connsiteY9" fmla="*/ 231300 h 693262"/>
                <a:gd name="connsiteX0" fmla="*/ 191549 w 720186"/>
                <a:gd name="connsiteY0" fmla="*/ 231300 h 693262"/>
                <a:gd name="connsiteX1" fmla="*/ 332043 w 720186"/>
                <a:gd name="connsiteY1" fmla="*/ 31275 h 693262"/>
                <a:gd name="connsiteX2" fmla="*/ 720186 w 720186"/>
                <a:gd name="connsiteY2" fmla="*/ 97950 h 693262"/>
                <a:gd name="connsiteX3" fmla="*/ 560643 w 720186"/>
                <a:gd name="connsiteY3" fmla="*/ 167006 h 693262"/>
                <a:gd name="connsiteX4" fmla="*/ 465393 w 720186"/>
                <a:gd name="connsiteY4" fmla="*/ 271781 h 693262"/>
                <a:gd name="connsiteX5" fmla="*/ 279655 w 720186"/>
                <a:gd name="connsiteY5" fmla="*/ 376556 h 693262"/>
                <a:gd name="connsiteX6" fmla="*/ 148686 w 720186"/>
                <a:gd name="connsiteY6" fmla="*/ 693262 h 693262"/>
                <a:gd name="connsiteX7" fmla="*/ 15336 w 720186"/>
                <a:gd name="connsiteY7" fmla="*/ 559912 h 693262"/>
                <a:gd name="connsiteX8" fmla="*/ 24861 w 720186"/>
                <a:gd name="connsiteY8" fmla="*/ 357506 h 693262"/>
                <a:gd name="connsiteX9" fmla="*/ 191549 w 720186"/>
                <a:gd name="connsiteY9" fmla="*/ 231300 h 693262"/>
                <a:gd name="connsiteX0" fmla="*/ 191549 w 720186"/>
                <a:gd name="connsiteY0" fmla="*/ 231300 h 693262"/>
                <a:gd name="connsiteX1" fmla="*/ 332043 w 720186"/>
                <a:gd name="connsiteY1" fmla="*/ 31275 h 693262"/>
                <a:gd name="connsiteX2" fmla="*/ 720186 w 720186"/>
                <a:gd name="connsiteY2" fmla="*/ 97950 h 693262"/>
                <a:gd name="connsiteX3" fmla="*/ 560643 w 720186"/>
                <a:gd name="connsiteY3" fmla="*/ 167006 h 693262"/>
                <a:gd name="connsiteX4" fmla="*/ 465393 w 720186"/>
                <a:gd name="connsiteY4" fmla="*/ 271781 h 693262"/>
                <a:gd name="connsiteX5" fmla="*/ 279655 w 720186"/>
                <a:gd name="connsiteY5" fmla="*/ 376556 h 693262"/>
                <a:gd name="connsiteX6" fmla="*/ 172499 w 720186"/>
                <a:gd name="connsiteY6" fmla="*/ 493237 h 693262"/>
                <a:gd name="connsiteX7" fmla="*/ 148686 w 720186"/>
                <a:gd name="connsiteY7" fmla="*/ 693262 h 693262"/>
                <a:gd name="connsiteX8" fmla="*/ 15336 w 720186"/>
                <a:gd name="connsiteY8" fmla="*/ 559912 h 693262"/>
                <a:gd name="connsiteX9" fmla="*/ 24861 w 720186"/>
                <a:gd name="connsiteY9" fmla="*/ 357506 h 693262"/>
                <a:gd name="connsiteX10" fmla="*/ 191549 w 720186"/>
                <a:gd name="connsiteY10" fmla="*/ 231300 h 693262"/>
                <a:gd name="connsiteX0" fmla="*/ 191549 w 720186"/>
                <a:gd name="connsiteY0" fmla="*/ 231300 h 693262"/>
                <a:gd name="connsiteX1" fmla="*/ 332043 w 720186"/>
                <a:gd name="connsiteY1" fmla="*/ 31275 h 693262"/>
                <a:gd name="connsiteX2" fmla="*/ 720186 w 720186"/>
                <a:gd name="connsiteY2" fmla="*/ 97950 h 693262"/>
                <a:gd name="connsiteX3" fmla="*/ 560643 w 720186"/>
                <a:gd name="connsiteY3" fmla="*/ 167006 h 693262"/>
                <a:gd name="connsiteX4" fmla="*/ 465393 w 720186"/>
                <a:gd name="connsiteY4" fmla="*/ 271781 h 693262"/>
                <a:gd name="connsiteX5" fmla="*/ 279655 w 720186"/>
                <a:gd name="connsiteY5" fmla="*/ 376556 h 693262"/>
                <a:gd name="connsiteX6" fmla="*/ 141542 w 720186"/>
                <a:gd name="connsiteY6" fmla="*/ 483712 h 693262"/>
                <a:gd name="connsiteX7" fmla="*/ 148686 w 720186"/>
                <a:gd name="connsiteY7" fmla="*/ 693262 h 693262"/>
                <a:gd name="connsiteX8" fmla="*/ 15336 w 720186"/>
                <a:gd name="connsiteY8" fmla="*/ 559912 h 693262"/>
                <a:gd name="connsiteX9" fmla="*/ 24861 w 720186"/>
                <a:gd name="connsiteY9" fmla="*/ 357506 h 693262"/>
                <a:gd name="connsiteX10" fmla="*/ 191549 w 720186"/>
                <a:gd name="connsiteY10" fmla="*/ 231300 h 693262"/>
                <a:gd name="connsiteX0" fmla="*/ 191549 w 720186"/>
                <a:gd name="connsiteY0" fmla="*/ 231300 h 694848"/>
                <a:gd name="connsiteX1" fmla="*/ 332043 w 720186"/>
                <a:gd name="connsiteY1" fmla="*/ 31275 h 694848"/>
                <a:gd name="connsiteX2" fmla="*/ 720186 w 720186"/>
                <a:gd name="connsiteY2" fmla="*/ 97950 h 694848"/>
                <a:gd name="connsiteX3" fmla="*/ 560643 w 720186"/>
                <a:gd name="connsiteY3" fmla="*/ 167006 h 694848"/>
                <a:gd name="connsiteX4" fmla="*/ 465393 w 720186"/>
                <a:gd name="connsiteY4" fmla="*/ 271781 h 694848"/>
                <a:gd name="connsiteX5" fmla="*/ 279655 w 720186"/>
                <a:gd name="connsiteY5" fmla="*/ 376556 h 694848"/>
                <a:gd name="connsiteX6" fmla="*/ 141542 w 720186"/>
                <a:gd name="connsiteY6" fmla="*/ 483712 h 694848"/>
                <a:gd name="connsiteX7" fmla="*/ 148686 w 720186"/>
                <a:gd name="connsiteY7" fmla="*/ 693262 h 694848"/>
                <a:gd name="connsiteX8" fmla="*/ 15336 w 720186"/>
                <a:gd name="connsiteY8" fmla="*/ 559912 h 694848"/>
                <a:gd name="connsiteX9" fmla="*/ 24861 w 720186"/>
                <a:gd name="connsiteY9" fmla="*/ 357506 h 694848"/>
                <a:gd name="connsiteX10" fmla="*/ 191549 w 720186"/>
                <a:gd name="connsiteY10" fmla="*/ 231300 h 694848"/>
                <a:gd name="connsiteX0" fmla="*/ 191549 w 720186"/>
                <a:gd name="connsiteY0" fmla="*/ 231300 h 694811"/>
                <a:gd name="connsiteX1" fmla="*/ 332043 w 720186"/>
                <a:gd name="connsiteY1" fmla="*/ 31275 h 694811"/>
                <a:gd name="connsiteX2" fmla="*/ 720186 w 720186"/>
                <a:gd name="connsiteY2" fmla="*/ 97950 h 694811"/>
                <a:gd name="connsiteX3" fmla="*/ 560643 w 720186"/>
                <a:gd name="connsiteY3" fmla="*/ 167006 h 694811"/>
                <a:gd name="connsiteX4" fmla="*/ 465393 w 720186"/>
                <a:gd name="connsiteY4" fmla="*/ 271781 h 694811"/>
                <a:gd name="connsiteX5" fmla="*/ 279655 w 720186"/>
                <a:gd name="connsiteY5" fmla="*/ 376556 h 694811"/>
                <a:gd name="connsiteX6" fmla="*/ 141542 w 720186"/>
                <a:gd name="connsiteY6" fmla="*/ 483712 h 694811"/>
                <a:gd name="connsiteX7" fmla="*/ 148686 w 720186"/>
                <a:gd name="connsiteY7" fmla="*/ 693262 h 694811"/>
                <a:gd name="connsiteX8" fmla="*/ 15336 w 720186"/>
                <a:gd name="connsiteY8" fmla="*/ 559912 h 694811"/>
                <a:gd name="connsiteX9" fmla="*/ 24861 w 720186"/>
                <a:gd name="connsiteY9" fmla="*/ 357506 h 694811"/>
                <a:gd name="connsiteX10" fmla="*/ 191549 w 720186"/>
                <a:gd name="connsiteY10" fmla="*/ 231300 h 694811"/>
                <a:gd name="connsiteX0" fmla="*/ 191549 w 720186"/>
                <a:gd name="connsiteY0" fmla="*/ 231300 h 694811"/>
                <a:gd name="connsiteX1" fmla="*/ 332043 w 720186"/>
                <a:gd name="connsiteY1" fmla="*/ 31275 h 694811"/>
                <a:gd name="connsiteX2" fmla="*/ 720186 w 720186"/>
                <a:gd name="connsiteY2" fmla="*/ 97950 h 694811"/>
                <a:gd name="connsiteX3" fmla="*/ 560643 w 720186"/>
                <a:gd name="connsiteY3" fmla="*/ 167006 h 694811"/>
                <a:gd name="connsiteX4" fmla="*/ 465393 w 720186"/>
                <a:gd name="connsiteY4" fmla="*/ 271781 h 694811"/>
                <a:gd name="connsiteX5" fmla="*/ 279655 w 720186"/>
                <a:gd name="connsiteY5" fmla="*/ 376556 h 694811"/>
                <a:gd name="connsiteX6" fmla="*/ 141542 w 720186"/>
                <a:gd name="connsiteY6" fmla="*/ 483712 h 694811"/>
                <a:gd name="connsiteX7" fmla="*/ 148686 w 720186"/>
                <a:gd name="connsiteY7" fmla="*/ 693262 h 694811"/>
                <a:gd name="connsiteX8" fmla="*/ 15336 w 720186"/>
                <a:gd name="connsiteY8" fmla="*/ 559912 h 694811"/>
                <a:gd name="connsiteX9" fmla="*/ 24861 w 720186"/>
                <a:gd name="connsiteY9" fmla="*/ 357506 h 694811"/>
                <a:gd name="connsiteX10" fmla="*/ 191549 w 720186"/>
                <a:gd name="connsiteY10" fmla="*/ 231300 h 694811"/>
                <a:gd name="connsiteX0" fmla="*/ 191549 w 720186"/>
                <a:gd name="connsiteY0" fmla="*/ 231300 h 694811"/>
                <a:gd name="connsiteX1" fmla="*/ 332043 w 720186"/>
                <a:gd name="connsiteY1" fmla="*/ 31275 h 694811"/>
                <a:gd name="connsiteX2" fmla="*/ 720186 w 720186"/>
                <a:gd name="connsiteY2" fmla="*/ 97950 h 694811"/>
                <a:gd name="connsiteX3" fmla="*/ 560643 w 720186"/>
                <a:gd name="connsiteY3" fmla="*/ 167006 h 694811"/>
                <a:gd name="connsiteX4" fmla="*/ 465393 w 720186"/>
                <a:gd name="connsiteY4" fmla="*/ 271781 h 694811"/>
                <a:gd name="connsiteX5" fmla="*/ 279655 w 720186"/>
                <a:gd name="connsiteY5" fmla="*/ 376556 h 694811"/>
                <a:gd name="connsiteX6" fmla="*/ 141542 w 720186"/>
                <a:gd name="connsiteY6" fmla="*/ 483712 h 694811"/>
                <a:gd name="connsiteX7" fmla="*/ 148686 w 720186"/>
                <a:gd name="connsiteY7" fmla="*/ 693262 h 694811"/>
                <a:gd name="connsiteX8" fmla="*/ 15336 w 720186"/>
                <a:gd name="connsiteY8" fmla="*/ 559912 h 694811"/>
                <a:gd name="connsiteX9" fmla="*/ 24861 w 720186"/>
                <a:gd name="connsiteY9" fmla="*/ 357506 h 694811"/>
                <a:gd name="connsiteX10" fmla="*/ 191549 w 720186"/>
                <a:gd name="connsiteY10" fmla="*/ 231300 h 694811"/>
                <a:gd name="connsiteX0" fmla="*/ 191549 w 720186"/>
                <a:gd name="connsiteY0" fmla="*/ 231300 h 694811"/>
                <a:gd name="connsiteX1" fmla="*/ 332043 w 720186"/>
                <a:gd name="connsiteY1" fmla="*/ 31275 h 694811"/>
                <a:gd name="connsiteX2" fmla="*/ 720186 w 720186"/>
                <a:gd name="connsiteY2" fmla="*/ 97950 h 694811"/>
                <a:gd name="connsiteX3" fmla="*/ 560643 w 720186"/>
                <a:gd name="connsiteY3" fmla="*/ 167006 h 694811"/>
                <a:gd name="connsiteX4" fmla="*/ 465393 w 720186"/>
                <a:gd name="connsiteY4" fmla="*/ 271781 h 694811"/>
                <a:gd name="connsiteX5" fmla="*/ 279655 w 720186"/>
                <a:gd name="connsiteY5" fmla="*/ 376556 h 694811"/>
                <a:gd name="connsiteX6" fmla="*/ 141542 w 720186"/>
                <a:gd name="connsiteY6" fmla="*/ 483712 h 694811"/>
                <a:gd name="connsiteX7" fmla="*/ 148686 w 720186"/>
                <a:gd name="connsiteY7" fmla="*/ 693262 h 694811"/>
                <a:gd name="connsiteX8" fmla="*/ 15336 w 720186"/>
                <a:gd name="connsiteY8" fmla="*/ 559912 h 694811"/>
                <a:gd name="connsiteX9" fmla="*/ 24861 w 720186"/>
                <a:gd name="connsiteY9" fmla="*/ 357506 h 694811"/>
                <a:gd name="connsiteX10" fmla="*/ 191549 w 720186"/>
                <a:gd name="connsiteY10" fmla="*/ 231300 h 694811"/>
                <a:gd name="connsiteX0" fmla="*/ 191549 w 720186"/>
                <a:gd name="connsiteY0" fmla="*/ 231300 h 694811"/>
                <a:gd name="connsiteX1" fmla="*/ 332043 w 720186"/>
                <a:gd name="connsiteY1" fmla="*/ 31275 h 694811"/>
                <a:gd name="connsiteX2" fmla="*/ 720186 w 720186"/>
                <a:gd name="connsiteY2" fmla="*/ 97950 h 694811"/>
                <a:gd name="connsiteX3" fmla="*/ 560643 w 720186"/>
                <a:gd name="connsiteY3" fmla="*/ 167006 h 694811"/>
                <a:gd name="connsiteX4" fmla="*/ 465393 w 720186"/>
                <a:gd name="connsiteY4" fmla="*/ 271781 h 694811"/>
                <a:gd name="connsiteX5" fmla="*/ 279655 w 720186"/>
                <a:gd name="connsiteY5" fmla="*/ 376556 h 694811"/>
                <a:gd name="connsiteX6" fmla="*/ 141542 w 720186"/>
                <a:gd name="connsiteY6" fmla="*/ 483712 h 694811"/>
                <a:gd name="connsiteX7" fmla="*/ 148686 w 720186"/>
                <a:gd name="connsiteY7" fmla="*/ 693262 h 694811"/>
                <a:gd name="connsiteX8" fmla="*/ 15336 w 720186"/>
                <a:gd name="connsiteY8" fmla="*/ 559912 h 694811"/>
                <a:gd name="connsiteX9" fmla="*/ 24861 w 720186"/>
                <a:gd name="connsiteY9" fmla="*/ 357506 h 694811"/>
                <a:gd name="connsiteX10" fmla="*/ 191549 w 720186"/>
                <a:gd name="connsiteY10" fmla="*/ 231300 h 694811"/>
                <a:gd name="connsiteX0" fmla="*/ 191549 w 720186"/>
                <a:gd name="connsiteY0" fmla="*/ 231300 h 694811"/>
                <a:gd name="connsiteX1" fmla="*/ 332043 w 720186"/>
                <a:gd name="connsiteY1" fmla="*/ 31275 h 694811"/>
                <a:gd name="connsiteX2" fmla="*/ 720186 w 720186"/>
                <a:gd name="connsiteY2" fmla="*/ 97950 h 694811"/>
                <a:gd name="connsiteX3" fmla="*/ 465393 w 720186"/>
                <a:gd name="connsiteY3" fmla="*/ 271781 h 694811"/>
                <a:gd name="connsiteX4" fmla="*/ 279655 w 720186"/>
                <a:gd name="connsiteY4" fmla="*/ 376556 h 694811"/>
                <a:gd name="connsiteX5" fmla="*/ 141542 w 720186"/>
                <a:gd name="connsiteY5" fmla="*/ 483712 h 694811"/>
                <a:gd name="connsiteX6" fmla="*/ 148686 w 720186"/>
                <a:gd name="connsiteY6" fmla="*/ 693262 h 694811"/>
                <a:gd name="connsiteX7" fmla="*/ 15336 w 720186"/>
                <a:gd name="connsiteY7" fmla="*/ 559912 h 694811"/>
                <a:gd name="connsiteX8" fmla="*/ 24861 w 720186"/>
                <a:gd name="connsiteY8" fmla="*/ 357506 h 694811"/>
                <a:gd name="connsiteX9" fmla="*/ 191549 w 720186"/>
                <a:gd name="connsiteY9" fmla="*/ 231300 h 694811"/>
                <a:gd name="connsiteX0" fmla="*/ 191549 w 720186"/>
                <a:gd name="connsiteY0" fmla="*/ 231744 h 695255"/>
                <a:gd name="connsiteX1" fmla="*/ 332043 w 720186"/>
                <a:gd name="connsiteY1" fmla="*/ 31719 h 695255"/>
                <a:gd name="connsiteX2" fmla="*/ 720186 w 720186"/>
                <a:gd name="connsiteY2" fmla="*/ 98394 h 695255"/>
                <a:gd name="connsiteX3" fmla="*/ 586836 w 720186"/>
                <a:gd name="connsiteY3" fmla="*/ 186501 h 695255"/>
                <a:gd name="connsiteX4" fmla="*/ 465393 w 720186"/>
                <a:gd name="connsiteY4" fmla="*/ 272225 h 695255"/>
                <a:gd name="connsiteX5" fmla="*/ 279655 w 720186"/>
                <a:gd name="connsiteY5" fmla="*/ 377000 h 695255"/>
                <a:gd name="connsiteX6" fmla="*/ 141542 w 720186"/>
                <a:gd name="connsiteY6" fmla="*/ 484156 h 695255"/>
                <a:gd name="connsiteX7" fmla="*/ 148686 w 720186"/>
                <a:gd name="connsiteY7" fmla="*/ 693706 h 695255"/>
                <a:gd name="connsiteX8" fmla="*/ 15336 w 720186"/>
                <a:gd name="connsiteY8" fmla="*/ 560356 h 695255"/>
                <a:gd name="connsiteX9" fmla="*/ 24861 w 720186"/>
                <a:gd name="connsiteY9" fmla="*/ 357950 h 695255"/>
                <a:gd name="connsiteX10" fmla="*/ 191549 w 720186"/>
                <a:gd name="connsiteY10" fmla="*/ 231744 h 695255"/>
                <a:gd name="connsiteX0" fmla="*/ 191549 w 720186"/>
                <a:gd name="connsiteY0" fmla="*/ 231744 h 695255"/>
                <a:gd name="connsiteX1" fmla="*/ 332043 w 720186"/>
                <a:gd name="connsiteY1" fmla="*/ 31719 h 695255"/>
                <a:gd name="connsiteX2" fmla="*/ 720186 w 720186"/>
                <a:gd name="connsiteY2" fmla="*/ 98394 h 695255"/>
                <a:gd name="connsiteX3" fmla="*/ 586836 w 720186"/>
                <a:gd name="connsiteY3" fmla="*/ 186501 h 695255"/>
                <a:gd name="connsiteX4" fmla="*/ 465393 w 720186"/>
                <a:gd name="connsiteY4" fmla="*/ 272225 h 695255"/>
                <a:gd name="connsiteX5" fmla="*/ 279655 w 720186"/>
                <a:gd name="connsiteY5" fmla="*/ 377000 h 695255"/>
                <a:gd name="connsiteX6" fmla="*/ 141542 w 720186"/>
                <a:gd name="connsiteY6" fmla="*/ 484156 h 695255"/>
                <a:gd name="connsiteX7" fmla="*/ 148686 w 720186"/>
                <a:gd name="connsiteY7" fmla="*/ 693706 h 695255"/>
                <a:gd name="connsiteX8" fmla="*/ 15336 w 720186"/>
                <a:gd name="connsiteY8" fmla="*/ 560356 h 695255"/>
                <a:gd name="connsiteX9" fmla="*/ 24861 w 720186"/>
                <a:gd name="connsiteY9" fmla="*/ 357950 h 695255"/>
                <a:gd name="connsiteX10" fmla="*/ 191549 w 720186"/>
                <a:gd name="connsiteY10" fmla="*/ 231744 h 695255"/>
                <a:gd name="connsiteX0" fmla="*/ 191549 w 720186"/>
                <a:gd name="connsiteY0" fmla="*/ 231744 h 695255"/>
                <a:gd name="connsiteX1" fmla="*/ 332043 w 720186"/>
                <a:gd name="connsiteY1" fmla="*/ 31719 h 695255"/>
                <a:gd name="connsiteX2" fmla="*/ 720186 w 720186"/>
                <a:gd name="connsiteY2" fmla="*/ 98394 h 695255"/>
                <a:gd name="connsiteX3" fmla="*/ 563024 w 720186"/>
                <a:gd name="connsiteY3" fmla="*/ 160307 h 695255"/>
                <a:gd name="connsiteX4" fmla="*/ 465393 w 720186"/>
                <a:gd name="connsiteY4" fmla="*/ 272225 h 695255"/>
                <a:gd name="connsiteX5" fmla="*/ 279655 w 720186"/>
                <a:gd name="connsiteY5" fmla="*/ 377000 h 695255"/>
                <a:gd name="connsiteX6" fmla="*/ 141542 w 720186"/>
                <a:gd name="connsiteY6" fmla="*/ 484156 h 695255"/>
                <a:gd name="connsiteX7" fmla="*/ 148686 w 720186"/>
                <a:gd name="connsiteY7" fmla="*/ 693706 h 695255"/>
                <a:gd name="connsiteX8" fmla="*/ 15336 w 720186"/>
                <a:gd name="connsiteY8" fmla="*/ 560356 h 695255"/>
                <a:gd name="connsiteX9" fmla="*/ 24861 w 720186"/>
                <a:gd name="connsiteY9" fmla="*/ 357950 h 695255"/>
                <a:gd name="connsiteX10" fmla="*/ 191549 w 720186"/>
                <a:gd name="connsiteY10" fmla="*/ 231744 h 695255"/>
                <a:gd name="connsiteX0" fmla="*/ 191549 w 720186"/>
                <a:gd name="connsiteY0" fmla="*/ 231744 h 695255"/>
                <a:gd name="connsiteX1" fmla="*/ 332043 w 720186"/>
                <a:gd name="connsiteY1" fmla="*/ 31719 h 695255"/>
                <a:gd name="connsiteX2" fmla="*/ 720186 w 720186"/>
                <a:gd name="connsiteY2" fmla="*/ 98394 h 695255"/>
                <a:gd name="connsiteX3" fmla="*/ 563024 w 720186"/>
                <a:gd name="connsiteY3" fmla="*/ 160307 h 695255"/>
                <a:gd name="connsiteX4" fmla="*/ 465393 w 720186"/>
                <a:gd name="connsiteY4" fmla="*/ 272225 h 695255"/>
                <a:gd name="connsiteX5" fmla="*/ 279655 w 720186"/>
                <a:gd name="connsiteY5" fmla="*/ 377000 h 695255"/>
                <a:gd name="connsiteX6" fmla="*/ 141542 w 720186"/>
                <a:gd name="connsiteY6" fmla="*/ 484156 h 695255"/>
                <a:gd name="connsiteX7" fmla="*/ 148686 w 720186"/>
                <a:gd name="connsiteY7" fmla="*/ 693706 h 695255"/>
                <a:gd name="connsiteX8" fmla="*/ 15336 w 720186"/>
                <a:gd name="connsiteY8" fmla="*/ 560356 h 695255"/>
                <a:gd name="connsiteX9" fmla="*/ 24861 w 720186"/>
                <a:gd name="connsiteY9" fmla="*/ 357950 h 695255"/>
                <a:gd name="connsiteX10" fmla="*/ 191549 w 720186"/>
                <a:gd name="connsiteY10" fmla="*/ 231744 h 695255"/>
                <a:gd name="connsiteX0" fmla="*/ 191549 w 720186"/>
                <a:gd name="connsiteY0" fmla="*/ 231744 h 695255"/>
                <a:gd name="connsiteX1" fmla="*/ 332043 w 720186"/>
                <a:gd name="connsiteY1" fmla="*/ 31719 h 695255"/>
                <a:gd name="connsiteX2" fmla="*/ 720186 w 720186"/>
                <a:gd name="connsiteY2" fmla="*/ 98394 h 695255"/>
                <a:gd name="connsiteX3" fmla="*/ 563024 w 720186"/>
                <a:gd name="connsiteY3" fmla="*/ 160307 h 695255"/>
                <a:gd name="connsiteX4" fmla="*/ 465393 w 720186"/>
                <a:gd name="connsiteY4" fmla="*/ 272225 h 695255"/>
                <a:gd name="connsiteX5" fmla="*/ 279655 w 720186"/>
                <a:gd name="connsiteY5" fmla="*/ 377000 h 695255"/>
                <a:gd name="connsiteX6" fmla="*/ 141542 w 720186"/>
                <a:gd name="connsiteY6" fmla="*/ 484156 h 695255"/>
                <a:gd name="connsiteX7" fmla="*/ 148686 w 720186"/>
                <a:gd name="connsiteY7" fmla="*/ 693706 h 695255"/>
                <a:gd name="connsiteX8" fmla="*/ 15336 w 720186"/>
                <a:gd name="connsiteY8" fmla="*/ 560356 h 695255"/>
                <a:gd name="connsiteX9" fmla="*/ 24861 w 720186"/>
                <a:gd name="connsiteY9" fmla="*/ 357950 h 695255"/>
                <a:gd name="connsiteX10" fmla="*/ 191549 w 720186"/>
                <a:gd name="connsiteY10" fmla="*/ 231744 h 695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20186" h="695255">
                  <a:moveTo>
                    <a:pt x="191549" y="231744"/>
                  </a:moveTo>
                  <a:cubicBezTo>
                    <a:pt x="242746" y="177372"/>
                    <a:pt x="227267" y="123000"/>
                    <a:pt x="332043" y="31719"/>
                  </a:cubicBezTo>
                  <a:cubicBezTo>
                    <a:pt x="436819" y="-59562"/>
                    <a:pt x="677721" y="72597"/>
                    <a:pt x="720186" y="98394"/>
                  </a:cubicBezTo>
                  <a:cubicBezTo>
                    <a:pt x="667799" y="119032"/>
                    <a:pt x="614618" y="142844"/>
                    <a:pt x="563024" y="160307"/>
                  </a:cubicBezTo>
                  <a:cubicBezTo>
                    <a:pt x="511430" y="177770"/>
                    <a:pt x="516590" y="240475"/>
                    <a:pt x="465393" y="272225"/>
                  </a:cubicBezTo>
                  <a:cubicBezTo>
                    <a:pt x="316169" y="280956"/>
                    <a:pt x="333630" y="341678"/>
                    <a:pt x="279655" y="377000"/>
                  </a:cubicBezTo>
                  <a:cubicBezTo>
                    <a:pt x="225680" y="412322"/>
                    <a:pt x="201470" y="398035"/>
                    <a:pt x="141542" y="484156"/>
                  </a:cubicBezTo>
                  <a:cubicBezTo>
                    <a:pt x="76851" y="532178"/>
                    <a:pt x="168806" y="713826"/>
                    <a:pt x="148686" y="693706"/>
                  </a:cubicBezTo>
                  <a:lnTo>
                    <a:pt x="15336" y="560356"/>
                  </a:lnTo>
                  <a:cubicBezTo>
                    <a:pt x="-8080" y="504397"/>
                    <a:pt x="-4508" y="412719"/>
                    <a:pt x="24861" y="357950"/>
                  </a:cubicBezTo>
                  <a:cubicBezTo>
                    <a:pt x="54230" y="303181"/>
                    <a:pt x="140352" y="286116"/>
                    <a:pt x="191549" y="231744"/>
                  </a:cubicBezTo>
                  <a:close/>
                </a:path>
              </a:pathLst>
            </a:cu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>
                <a:solidFill>
                  <a:schemeClr val="accent5"/>
                </a:solidFill>
              </a:endParaRPr>
            </a:p>
          </p:txBody>
        </p:sp>
      </p:grpSp>
      <p:grpSp>
        <p:nvGrpSpPr>
          <p:cNvPr id="12" name="Group 64">
            <a:extLst>
              <a:ext uri="{FF2B5EF4-FFF2-40B4-BE49-F238E27FC236}">
                <a16:creationId xmlns:a16="http://schemas.microsoft.com/office/drawing/2014/main" id="{60AD85E7-3157-DEF8-9DAC-5E1E935B9EE3}"/>
              </a:ext>
            </a:extLst>
          </p:cNvPr>
          <p:cNvGrpSpPr>
            <a:grpSpLocks/>
          </p:cNvGrpSpPr>
          <p:nvPr/>
        </p:nvGrpSpPr>
        <p:grpSpPr bwMode="auto">
          <a:xfrm rot="-442067">
            <a:off x="8554710" y="4287407"/>
            <a:ext cx="677862" cy="930275"/>
            <a:chOff x="7047958" y="2388659"/>
            <a:chExt cx="678919" cy="929623"/>
          </a:xfrm>
        </p:grpSpPr>
        <p:pic>
          <p:nvPicPr>
            <p:cNvPr id="13" name="Picture 65">
              <a:extLst>
                <a:ext uri="{FF2B5EF4-FFF2-40B4-BE49-F238E27FC236}">
                  <a16:creationId xmlns:a16="http://schemas.microsoft.com/office/drawing/2014/main" id="{4AB675FE-3FA3-BCAF-6745-64E8B34B867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3074" t="12907" r="33916" b="23073"/>
            <a:stretch>
              <a:fillRect/>
            </a:stretch>
          </p:blipFill>
          <p:spPr bwMode="gray">
            <a:xfrm rot="20406524" flipV="1">
              <a:off x="7322499" y="2388659"/>
              <a:ext cx="404378" cy="7056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4" name="Picture 66">
              <a:extLst>
                <a:ext uri="{FF2B5EF4-FFF2-40B4-BE49-F238E27FC236}">
                  <a16:creationId xmlns:a16="http://schemas.microsoft.com/office/drawing/2014/main" id="{962E3179-C02D-8B7C-E75F-12BB5D72DEB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3074" t="12907" r="33916" b="23073"/>
            <a:stretch>
              <a:fillRect/>
            </a:stretch>
          </p:blipFill>
          <p:spPr bwMode="gray">
            <a:xfrm rot="20406524" flipH="1">
              <a:off x="7047958" y="2612678"/>
              <a:ext cx="404378" cy="7056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15" name="Picture 5" descr="Image result for smaxtec messenger">
            <a:extLst>
              <a:ext uri="{FF2B5EF4-FFF2-40B4-BE49-F238E27FC236}">
                <a16:creationId xmlns:a16="http://schemas.microsoft.com/office/drawing/2014/main" id="{8B8D7A40-96AB-D1D7-EA32-C9A2761DC3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16"/>
          <a:stretch>
            <a:fillRect/>
          </a:stretch>
        </p:blipFill>
        <p:spPr bwMode="gray">
          <a:xfrm>
            <a:off x="6962673" y="5287587"/>
            <a:ext cx="3539951" cy="21561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7" descr="Image result for smaxtec messenger">
            <a:extLst>
              <a:ext uri="{FF2B5EF4-FFF2-40B4-BE49-F238E27FC236}">
                <a16:creationId xmlns:a16="http://schemas.microsoft.com/office/drawing/2014/main" id="{64CB9323-32CB-DB6E-85AC-5D4D257703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997" t="6924" r="12997" b="5711"/>
          <a:stretch>
            <a:fillRect/>
          </a:stretch>
        </p:blipFill>
        <p:spPr bwMode="gray">
          <a:xfrm>
            <a:off x="6431829" y="5885819"/>
            <a:ext cx="565667" cy="1127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63">
            <a:extLst>
              <a:ext uri="{FF2B5EF4-FFF2-40B4-BE49-F238E27FC236}">
                <a16:creationId xmlns:a16="http://schemas.microsoft.com/office/drawing/2014/main" id="{CC0772BF-53FE-69A7-1962-96B4FBFB1C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074" t="12907" r="33916" b="23073"/>
          <a:stretch>
            <a:fillRect/>
          </a:stretch>
        </p:blipFill>
        <p:spPr bwMode="gray">
          <a:xfrm rot="20618491">
            <a:off x="3773247" y="2775240"/>
            <a:ext cx="548959" cy="9594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AA708B85-A2FE-F7BB-1B86-AE944996AB9A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 bwMode="gray">
          <a:xfrm>
            <a:off x="1079500" y="4474980"/>
            <a:ext cx="1238248" cy="451535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lvl="0" indent="0">
              <a:spcBef>
                <a:spcPct val="20000"/>
              </a:spcBef>
              <a:buFontTx/>
              <a:buNone/>
              <a:defRPr sz="1600"/>
            </a:lvl1pPr>
            <a:lvl2pPr marL="228600" lvl="1" indent="-228600">
              <a:spcBef>
                <a:spcPct val="20000"/>
              </a:spcBef>
              <a:buFont typeface="Wingdings" pitchFamily="2" charset="2"/>
              <a:buChar char="§"/>
              <a:defRPr sz="1600"/>
            </a:lvl2pPr>
            <a:lvl3pPr marL="457200" lvl="2" indent="-228600">
              <a:spcBef>
                <a:spcPct val="20000"/>
              </a:spcBef>
              <a:buFont typeface="Arial" pitchFamily="34" charset="0"/>
              <a:buChar char="–"/>
              <a:defRPr sz="1600"/>
            </a:lvl3pPr>
            <a:lvl4pPr marL="685800" lvl="3" indent="-228600">
              <a:spcBef>
                <a:spcPct val="20000"/>
              </a:spcBef>
              <a:buFont typeface="Arial" pitchFamily="34" charset="0"/>
              <a:buChar char="•"/>
              <a:defRPr sz="1600"/>
            </a:lvl4pPr>
            <a:lvl5pPr marL="914400" indent="-228600">
              <a:spcBef>
                <a:spcPct val="20000"/>
              </a:spcBef>
              <a:buFont typeface="Arial" pitchFamily="34" charset="0"/>
              <a:buChar char="»"/>
              <a:defRPr sz="16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lt-LT" sz="1467" dirty="0"/>
              <a:t>Judėjimas, temperatūra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CF06C17-B798-2EB7-F652-35D3013BDA31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 bwMode="gray">
          <a:xfrm>
            <a:off x="2317748" y="4483720"/>
            <a:ext cx="1533377" cy="451535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lvl="0" indent="0">
              <a:spcBef>
                <a:spcPct val="20000"/>
              </a:spcBef>
              <a:buFontTx/>
              <a:buNone/>
              <a:defRPr sz="1600"/>
            </a:lvl1pPr>
            <a:lvl2pPr marL="228600" lvl="1" indent="-228600">
              <a:spcBef>
                <a:spcPct val="20000"/>
              </a:spcBef>
              <a:buFont typeface="Wingdings" pitchFamily="2" charset="2"/>
              <a:buChar char="§"/>
              <a:defRPr sz="1600"/>
            </a:lvl2pPr>
            <a:lvl3pPr marL="457200" lvl="2" indent="-228600">
              <a:spcBef>
                <a:spcPct val="20000"/>
              </a:spcBef>
              <a:buFont typeface="Arial" pitchFamily="34" charset="0"/>
              <a:buChar char="–"/>
              <a:defRPr sz="1600"/>
            </a:lvl3pPr>
            <a:lvl4pPr marL="685800" lvl="3" indent="-228600">
              <a:spcBef>
                <a:spcPct val="20000"/>
              </a:spcBef>
              <a:buFont typeface="Arial" pitchFamily="34" charset="0"/>
              <a:buChar char="•"/>
              <a:defRPr sz="1600"/>
            </a:lvl4pPr>
            <a:lvl5pPr marL="914400" indent="-228600">
              <a:spcBef>
                <a:spcPct val="20000"/>
              </a:spcBef>
              <a:buFont typeface="Arial" pitchFamily="34" charset="0"/>
              <a:buChar char="»"/>
              <a:defRPr sz="16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lt-LT" sz="1467" dirty="0"/>
              <a:t>Judėjimas, temperatūra + pH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5C2B1E2-E2ED-5AE7-E010-AF84C3556398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927100" y="5331821"/>
            <a:ext cx="4109556" cy="110799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spcBef>
                <a:spcPct val="20000"/>
              </a:spcBef>
              <a:buFontTx/>
              <a:buNone/>
              <a:defRPr sz="1600"/>
            </a:lvl1pPr>
            <a:lvl2pPr marL="228600" lvl="1" indent="-228600">
              <a:spcBef>
                <a:spcPct val="20000"/>
              </a:spcBef>
              <a:buFont typeface="Wingdings" pitchFamily="2" charset="2"/>
              <a:buChar char="§"/>
              <a:defRPr sz="1600"/>
            </a:lvl2pPr>
            <a:lvl3pPr marL="457200" lvl="2" indent="-228600">
              <a:spcBef>
                <a:spcPct val="20000"/>
              </a:spcBef>
              <a:buFont typeface="Arial" pitchFamily="34" charset="0"/>
              <a:buChar char="–"/>
              <a:defRPr sz="1600"/>
            </a:lvl3pPr>
            <a:lvl4pPr marL="685800" lvl="3" indent="-228600">
              <a:spcBef>
                <a:spcPct val="20000"/>
              </a:spcBef>
              <a:buFont typeface="Arial" pitchFamily="34" charset="0"/>
              <a:buChar char="•"/>
              <a:defRPr sz="1600"/>
            </a:lvl4pPr>
            <a:lvl5pPr marL="914400" indent="-228600">
              <a:spcBef>
                <a:spcPct val="20000"/>
              </a:spcBef>
              <a:buFont typeface="Arial" pitchFamily="34" charset="0"/>
              <a:buChar char="»"/>
              <a:defRPr sz="16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243834" lvl="1" indent="-243834">
              <a:spcBef>
                <a:spcPts val="0"/>
              </a:spcBef>
            </a:pPr>
            <a:r>
              <a:rPr lang="lt-LT" sz="1800" dirty="0"/>
              <a:t>Baterija gyvuoja 4-5 metus;</a:t>
            </a:r>
          </a:p>
          <a:p>
            <a:pPr marL="243834" lvl="1" indent="-243834">
              <a:spcBef>
                <a:spcPts val="0"/>
              </a:spcBef>
            </a:pPr>
            <a:r>
              <a:rPr lang="lt-LT" sz="1800" dirty="0"/>
              <a:t>Nereikalaujantis priežiūros;</a:t>
            </a:r>
          </a:p>
          <a:p>
            <a:pPr marL="243834" lvl="1" indent="-243834">
              <a:spcBef>
                <a:spcPts val="0"/>
              </a:spcBef>
            </a:pPr>
            <a:r>
              <a:rPr lang="lt-LT" sz="1800" dirty="0"/>
              <a:t>Apsaugotas nuo sugadinimo, patikimas gyvūno stebėjimas.</a:t>
            </a:r>
          </a:p>
        </p:txBody>
      </p:sp>
    </p:spTree>
    <p:extLst>
      <p:ext uri="{BB962C8B-B14F-4D97-AF65-F5344CB8AC3E}">
        <p14:creationId xmlns:p14="http://schemas.microsoft.com/office/powerpoint/2010/main" val="398694249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858" y="774970"/>
          <a:ext cx="1856" cy="18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858" y="774970"/>
                        <a:ext cx="1856" cy="18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98501" y="431233"/>
            <a:ext cx="8534400" cy="664066"/>
          </a:xfrm>
        </p:spPr>
        <p:txBody>
          <a:bodyPr/>
          <a:lstStyle/>
          <a:p>
            <a:pPr algn="ctr"/>
            <a:r>
              <a:rPr lang="lt-LT" sz="2800" dirty="0">
                <a:latin typeface="+mn-lt"/>
              </a:rPr>
              <a:t>S</a:t>
            </a:r>
            <a:r>
              <a:rPr lang="en-IN" sz="2800" dirty="0" err="1">
                <a:latin typeface="+mn-lt"/>
              </a:rPr>
              <a:t>istema</a:t>
            </a:r>
            <a:r>
              <a:rPr lang="lt-LT" sz="2800" dirty="0">
                <a:latin typeface="+mn-lt"/>
              </a:rPr>
              <a:t>,</a:t>
            </a:r>
            <a:r>
              <a:rPr lang="en-IN" sz="2800" dirty="0">
                <a:latin typeface="+mn-lt"/>
              </a:rPr>
              <a:t> </a:t>
            </a:r>
            <a:r>
              <a:rPr lang="en-IN" sz="2800" dirty="0" err="1">
                <a:latin typeface="+mn-lt"/>
              </a:rPr>
              <a:t>kuri</a:t>
            </a:r>
            <a:r>
              <a:rPr lang="en-IN" sz="2800" dirty="0">
                <a:latin typeface="+mn-lt"/>
              </a:rPr>
              <a:t> </a:t>
            </a:r>
            <a:r>
              <a:rPr lang="en-IN" sz="2800" dirty="0" err="1">
                <a:latin typeface="+mn-lt"/>
              </a:rPr>
              <a:t>pateikia</a:t>
            </a:r>
            <a:r>
              <a:rPr lang="en-IN" sz="2800" dirty="0">
                <a:latin typeface="+mn-lt"/>
              </a:rPr>
              <a:t> </a:t>
            </a:r>
            <a:r>
              <a:rPr lang="en-IN" sz="2800" dirty="0" err="1">
                <a:latin typeface="+mn-lt"/>
              </a:rPr>
              <a:t>temperatūros</a:t>
            </a:r>
            <a:r>
              <a:rPr lang="en-IN" sz="2800" dirty="0">
                <a:latin typeface="+mn-lt"/>
              </a:rPr>
              <a:t> </a:t>
            </a:r>
            <a:r>
              <a:rPr lang="en-IN" sz="2800" dirty="0" err="1">
                <a:latin typeface="+mn-lt"/>
              </a:rPr>
              <a:t>kitimus</a:t>
            </a:r>
            <a:r>
              <a:rPr lang="en-IN" sz="2800" dirty="0">
                <a:latin typeface="+mn-lt"/>
              </a:rPr>
              <a:t>, </a:t>
            </a:r>
            <a:r>
              <a:rPr lang="en-IN" sz="2800" dirty="0" err="1">
                <a:latin typeface="+mn-lt"/>
              </a:rPr>
              <a:t>prieskrandžio</a:t>
            </a:r>
            <a:r>
              <a:rPr lang="en-IN" sz="2800" dirty="0">
                <a:latin typeface="+mn-lt"/>
              </a:rPr>
              <a:t>  pH </a:t>
            </a:r>
            <a:r>
              <a:rPr lang="en-IN" sz="2800" dirty="0" err="1">
                <a:latin typeface="+mn-lt"/>
              </a:rPr>
              <a:t>karvės</a:t>
            </a:r>
            <a:r>
              <a:rPr lang="en-IN" sz="2800" dirty="0">
                <a:latin typeface="+mn-lt"/>
              </a:rPr>
              <a:t> </a:t>
            </a:r>
            <a:r>
              <a:rPr lang="en-IN" sz="2800" dirty="0" err="1">
                <a:latin typeface="+mn-lt"/>
              </a:rPr>
              <a:t>viduje</a:t>
            </a:r>
            <a:r>
              <a:rPr lang="en-IN" sz="2800" dirty="0">
                <a:latin typeface="+mn-lt"/>
              </a:rPr>
              <a:t> </a:t>
            </a:r>
            <a:r>
              <a:rPr lang="en-IN" sz="2800" dirty="0" err="1">
                <a:latin typeface="+mn-lt"/>
              </a:rPr>
              <a:t>bei</a:t>
            </a:r>
            <a:r>
              <a:rPr lang="en-IN" sz="2800" dirty="0">
                <a:latin typeface="+mn-lt"/>
              </a:rPr>
              <a:t>  </a:t>
            </a:r>
            <a:r>
              <a:rPr lang="en-IN" sz="2800" dirty="0" err="1">
                <a:latin typeface="+mn-lt"/>
              </a:rPr>
              <a:t>aplinkos</a:t>
            </a:r>
            <a:r>
              <a:rPr lang="en-IN" sz="2800" dirty="0">
                <a:latin typeface="+mn-lt"/>
              </a:rPr>
              <a:t> </a:t>
            </a:r>
            <a:r>
              <a:rPr lang="en-IN" sz="2800" dirty="0" err="1">
                <a:latin typeface="+mn-lt"/>
              </a:rPr>
              <a:t>klimato</a:t>
            </a:r>
            <a:r>
              <a:rPr lang="en-IN" sz="2800" dirty="0">
                <a:latin typeface="+mn-lt"/>
              </a:rPr>
              <a:t> </a:t>
            </a:r>
            <a:r>
              <a:rPr lang="en-IN" sz="2800" dirty="0" err="1">
                <a:latin typeface="+mn-lt"/>
              </a:rPr>
              <a:t>sąlygas</a:t>
            </a:r>
            <a:endParaRPr lang="en-IN" sz="2800" dirty="0">
              <a:latin typeface="+mn-lt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FB1B8D-0DC0-4004-A2AE-133D617D59E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0" name="Content Placeholder 12"/>
          <p:cNvSpPr txBox="1">
            <a:spLocks/>
          </p:cNvSpPr>
          <p:nvPr>
            <p:custDataLst>
              <p:tags r:id="rId2"/>
            </p:custDataLst>
          </p:nvPr>
        </p:nvSpPr>
        <p:spPr bwMode="gray">
          <a:xfrm>
            <a:off x="1241464" y="1811903"/>
            <a:ext cx="2721923" cy="4864325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80201" tIns="80201" rIns="80201" bIns="80201" rtlCol="0" anchor="ctr" anchorCtr="0">
            <a:noAutofit/>
          </a:bodyPr>
          <a:lstStyle>
            <a:defPPr>
              <a:defRPr lang="en-US"/>
            </a:defPPr>
            <a:lvl1pPr indent="0">
              <a:spcBef>
                <a:spcPct val="20000"/>
              </a:spcBef>
              <a:buFontTx/>
              <a:buNone/>
              <a:defRPr sz="2000" b="1">
                <a:solidFill>
                  <a:schemeClr val="accent4"/>
                </a:solidFill>
              </a:defRPr>
            </a:lvl1pPr>
            <a:lvl2pPr marL="228600" indent="-228600">
              <a:spcBef>
                <a:spcPct val="20000"/>
              </a:spcBef>
              <a:buFont typeface="Wingdings" pitchFamily="2" charset="2"/>
              <a:buChar char="§"/>
              <a:defRPr sz="1600"/>
            </a:lvl2pPr>
            <a:lvl3pPr marL="457200" indent="-228600">
              <a:spcBef>
                <a:spcPct val="20000"/>
              </a:spcBef>
              <a:buFont typeface="Arial" pitchFamily="34" charset="0"/>
              <a:buChar char="–"/>
              <a:defRPr sz="1600"/>
            </a:lvl3pPr>
            <a:lvl4pPr marL="685800" indent="-228600">
              <a:spcBef>
                <a:spcPct val="20000"/>
              </a:spcBef>
              <a:buFont typeface="Arial" pitchFamily="34" charset="0"/>
              <a:buChar char="•"/>
              <a:defRPr sz="1600"/>
            </a:lvl4pPr>
            <a:lvl5pPr marL="914400" indent="-228600">
              <a:spcBef>
                <a:spcPct val="20000"/>
              </a:spcBef>
              <a:buFont typeface="Arial" pitchFamily="34" charset="0"/>
              <a:buChar char="»"/>
              <a:defRPr sz="16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defTabSz="802000">
              <a:defRPr/>
            </a:pPr>
            <a:endParaRPr lang="en-US" sz="1520" dirty="0">
              <a:solidFill>
                <a:prstClr val="white"/>
              </a:solidFill>
            </a:endParaRPr>
          </a:p>
        </p:txBody>
      </p:sp>
      <p:sp>
        <p:nvSpPr>
          <p:cNvPr id="71" name="Content Placeholder 12"/>
          <p:cNvSpPr txBox="1">
            <a:spLocks/>
          </p:cNvSpPr>
          <p:nvPr/>
        </p:nvSpPr>
        <p:spPr bwMode="gray">
          <a:xfrm>
            <a:off x="1241464" y="1802927"/>
            <a:ext cx="2583505" cy="328392"/>
          </a:xfrm>
          <a:prstGeom prst="rect">
            <a:avLst/>
          </a:prstGeom>
          <a:solidFill>
            <a:schemeClr val="accent4"/>
          </a:solidFill>
        </p:spPr>
        <p:txBody>
          <a:bodyPr vert="horz" wrap="square" lIns="46784" tIns="46784" rIns="46784" bIns="46784" rtlCol="0" anchor="ctr" anchorCtr="0">
            <a:spAutoFit/>
          </a:bodyPr>
          <a:lstStyle>
            <a:defPPr>
              <a:defRPr lang="en-US"/>
            </a:defPPr>
            <a:lvl1pPr indent="0">
              <a:spcBef>
                <a:spcPct val="20000"/>
              </a:spcBef>
              <a:buFontTx/>
              <a:buNone/>
              <a:defRPr sz="2000" b="1">
                <a:solidFill>
                  <a:schemeClr val="accent4"/>
                </a:solidFill>
              </a:defRPr>
            </a:lvl1pPr>
            <a:lvl2pPr marL="228600" indent="-228600">
              <a:spcBef>
                <a:spcPct val="20000"/>
              </a:spcBef>
              <a:buFont typeface="Wingdings" pitchFamily="2" charset="2"/>
              <a:buChar char="§"/>
              <a:defRPr sz="1600"/>
            </a:lvl2pPr>
            <a:lvl3pPr marL="457200" indent="-228600">
              <a:spcBef>
                <a:spcPct val="20000"/>
              </a:spcBef>
              <a:buFont typeface="Arial" pitchFamily="34" charset="0"/>
              <a:buChar char="–"/>
              <a:defRPr sz="1600"/>
            </a:lvl3pPr>
            <a:lvl4pPr marL="685800" indent="-228600">
              <a:spcBef>
                <a:spcPct val="20000"/>
              </a:spcBef>
              <a:buFont typeface="Arial" pitchFamily="34" charset="0"/>
              <a:buChar char="•"/>
              <a:defRPr sz="1600"/>
            </a:lvl4pPr>
            <a:lvl5pPr marL="914400" indent="-228600">
              <a:spcBef>
                <a:spcPct val="20000"/>
              </a:spcBef>
              <a:buFont typeface="Arial" pitchFamily="34" charset="0"/>
              <a:buChar char="»"/>
              <a:defRPr sz="16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defTabSz="802000">
              <a:defRPr/>
            </a:pPr>
            <a:r>
              <a:rPr lang="en-US" sz="1520" dirty="0" err="1">
                <a:solidFill>
                  <a:prstClr val="white"/>
                </a:solidFill>
              </a:rPr>
              <a:t>Parametrai</a:t>
            </a:r>
            <a:r>
              <a:rPr lang="en-US" sz="1520" dirty="0">
                <a:solidFill>
                  <a:prstClr val="white"/>
                </a:solidFill>
              </a:rPr>
              <a:t> </a:t>
            </a:r>
          </a:p>
        </p:txBody>
      </p:sp>
      <p:sp>
        <p:nvSpPr>
          <p:cNvPr id="78" name="Content Placeholder 12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3903554" y="1811903"/>
            <a:ext cx="6319946" cy="50167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wrap="square" lIns="80201" tIns="80201" rIns="80201" bIns="80201" rtlCol="0" anchor="ctr" anchorCtr="0">
            <a:noAutofit/>
          </a:bodyPr>
          <a:lstStyle>
            <a:defPPr>
              <a:defRPr lang="en-US"/>
            </a:defPPr>
            <a:lvl1pPr indent="0">
              <a:spcBef>
                <a:spcPct val="20000"/>
              </a:spcBef>
              <a:buFontTx/>
              <a:buNone/>
              <a:defRPr sz="2000" b="1">
                <a:solidFill>
                  <a:schemeClr val="accent4"/>
                </a:solidFill>
              </a:defRPr>
            </a:lvl1pPr>
            <a:lvl2pPr marL="228600" indent="-228600">
              <a:spcBef>
                <a:spcPct val="20000"/>
              </a:spcBef>
              <a:buFont typeface="Wingdings" pitchFamily="2" charset="2"/>
              <a:buChar char="§"/>
              <a:defRPr sz="1600"/>
            </a:lvl2pPr>
            <a:lvl3pPr marL="457200" indent="-228600">
              <a:spcBef>
                <a:spcPct val="20000"/>
              </a:spcBef>
              <a:buFont typeface="Arial" pitchFamily="34" charset="0"/>
              <a:buChar char="–"/>
              <a:defRPr sz="1600"/>
            </a:lvl3pPr>
            <a:lvl4pPr marL="685800" indent="-228600">
              <a:spcBef>
                <a:spcPct val="20000"/>
              </a:spcBef>
              <a:buFont typeface="Arial" pitchFamily="34" charset="0"/>
              <a:buChar char="•"/>
              <a:defRPr sz="1600"/>
            </a:lvl4pPr>
            <a:lvl5pPr marL="914400" indent="-228600">
              <a:spcBef>
                <a:spcPct val="20000"/>
              </a:spcBef>
              <a:buFont typeface="Arial" pitchFamily="34" charset="0"/>
              <a:buChar char="»"/>
              <a:defRPr sz="16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defTabSz="802000">
              <a:defRPr/>
            </a:pPr>
            <a:endParaRPr lang="en-US" sz="1520" dirty="0">
              <a:solidFill>
                <a:prstClr val="white"/>
              </a:solidFill>
              <a:highlight>
                <a:srgbClr val="FFFF00"/>
              </a:highlight>
            </a:endParaRPr>
          </a:p>
        </p:txBody>
      </p:sp>
      <p:sp>
        <p:nvSpPr>
          <p:cNvPr id="79" name="Content Placeholder 12"/>
          <p:cNvSpPr txBox="1">
            <a:spLocks/>
          </p:cNvSpPr>
          <p:nvPr/>
        </p:nvSpPr>
        <p:spPr bwMode="gray">
          <a:xfrm>
            <a:off x="3903555" y="1802927"/>
            <a:ext cx="6080184" cy="328392"/>
          </a:xfrm>
          <a:prstGeom prst="rect">
            <a:avLst/>
          </a:prstGeom>
          <a:solidFill>
            <a:schemeClr val="accent4"/>
          </a:solidFill>
        </p:spPr>
        <p:txBody>
          <a:bodyPr vert="horz" wrap="square" lIns="46784" tIns="46784" rIns="46784" bIns="46784" rtlCol="0" anchor="ctr" anchorCtr="0">
            <a:spAutoFit/>
          </a:bodyPr>
          <a:lstStyle>
            <a:defPPr>
              <a:defRPr lang="en-US"/>
            </a:defPPr>
            <a:lvl1pPr indent="0">
              <a:spcBef>
                <a:spcPct val="20000"/>
              </a:spcBef>
              <a:buFontTx/>
              <a:buNone/>
              <a:defRPr sz="2000" b="1">
                <a:solidFill>
                  <a:schemeClr val="accent4"/>
                </a:solidFill>
              </a:defRPr>
            </a:lvl1pPr>
            <a:lvl2pPr marL="228600" indent="-228600">
              <a:spcBef>
                <a:spcPct val="20000"/>
              </a:spcBef>
              <a:buFont typeface="Wingdings" pitchFamily="2" charset="2"/>
              <a:buChar char="§"/>
              <a:defRPr sz="1600"/>
            </a:lvl2pPr>
            <a:lvl3pPr marL="457200" indent="-228600">
              <a:spcBef>
                <a:spcPct val="20000"/>
              </a:spcBef>
              <a:buFont typeface="Arial" pitchFamily="34" charset="0"/>
              <a:buChar char="–"/>
              <a:defRPr sz="1600"/>
            </a:lvl3pPr>
            <a:lvl4pPr marL="685800" indent="-228600">
              <a:spcBef>
                <a:spcPct val="20000"/>
              </a:spcBef>
              <a:buFont typeface="Arial" pitchFamily="34" charset="0"/>
              <a:buChar char="•"/>
              <a:defRPr sz="1600"/>
            </a:lvl4pPr>
            <a:lvl5pPr marL="914400" indent="-228600">
              <a:spcBef>
                <a:spcPct val="20000"/>
              </a:spcBef>
              <a:buFont typeface="Arial" pitchFamily="34" charset="0"/>
              <a:buChar char="»"/>
              <a:defRPr sz="16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defTabSz="802000">
              <a:defRPr/>
            </a:pPr>
            <a:r>
              <a:rPr lang="en-US" sz="1520" dirty="0" err="1">
                <a:solidFill>
                  <a:prstClr val="white"/>
                </a:solidFill>
              </a:rPr>
              <a:t>Aprašymas</a:t>
            </a:r>
            <a:endParaRPr lang="en-US" sz="1520" dirty="0">
              <a:solidFill>
                <a:prstClr val="white"/>
              </a:solidFill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1332494" y="3233756"/>
            <a:ext cx="7729398" cy="0"/>
            <a:chOff x="1139424" y="2107482"/>
            <a:chExt cx="6609461" cy="0"/>
          </a:xfrm>
        </p:grpSpPr>
        <p:cxnSp>
          <p:nvCxnSpPr>
            <p:cNvPr id="74" name="Straight Connector 21"/>
            <p:cNvCxnSpPr>
              <a:cxnSpLocks/>
            </p:cNvCxnSpPr>
            <p:nvPr>
              <p:custDataLst>
                <p:tags r:id="rId9"/>
              </p:custDataLst>
            </p:nvPr>
          </p:nvCxnSpPr>
          <p:spPr bwMode="gray">
            <a:xfrm>
              <a:off x="1139424" y="2107482"/>
              <a:ext cx="2053072" cy="0"/>
            </a:xfrm>
            <a:prstGeom prst="straightConnector1">
              <a:avLst/>
            </a:prstGeom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21"/>
            <p:cNvCxnSpPr>
              <a:cxnSpLocks/>
            </p:cNvCxnSpPr>
            <p:nvPr>
              <p:custDataLst>
                <p:tags r:id="rId10"/>
              </p:custDataLst>
            </p:nvPr>
          </p:nvCxnSpPr>
          <p:spPr bwMode="gray">
            <a:xfrm>
              <a:off x="3394129" y="2107482"/>
              <a:ext cx="4354756" cy="0"/>
            </a:xfrm>
            <a:prstGeom prst="straightConnector1">
              <a:avLst/>
            </a:prstGeom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Group 11"/>
          <p:cNvGrpSpPr/>
          <p:nvPr/>
        </p:nvGrpSpPr>
        <p:grpSpPr>
          <a:xfrm>
            <a:off x="1332494" y="4371368"/>
            <a:ext cx="7729398" cy="1"/>
            <a:chOff x="1139424" y="3082056"/>
            <a:chExt cx="6609461" cy="1"/>
          </a:xfrm>
        </p:grpSpPr>
        <p:cxnSp>
          <p:nvCxnSpPr>
            <p:cNvPr id="75" name="Straight Connector 21"/>
            <p:cNvCxnSpPr>
              <a:cxnSpLocks/>
            </p:cNvCxnSpPr>
            <p:nvPr>
              <p:custDataLst>
                <p:tags r:id="rId7"/>
              </p:custDataLst>
            </p:nvPr>
          </p:nvCxnSpPr>
          <p:spPr bwMode="gray">
            <a:xfrm>
              <a:off x="1139424" y="3082057"/>
              <a:ext cx="2053072" cy="0"/>
            </a:xfrm>
            <a:prstGeom prst="straightConnector1">
              <a:avLst/>
            </a:prstGeom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Connector 21"/>
            <p:cNvCxnSpPr>
              <a:cxnSpLocks/>
            </p:cNvCxnSpPr>
            <p:nvPr>
              <p:custDataLst>
                <p:tags r:id="rId8"/>
              </p:custDataLst>
            </p:nvPr>
          </p:nvCxnSpPr>
          <p:spPr bwMode="gray">
            <a:xfrm>
              <a:off x="3394129" y="3082056"/>
              <a:ext cx="4354756" cy="0"/>
            </a:xfrm>
            <a:prstGeom prst="straightConnector1">
              <a:avLst/>
            </a:prstGeom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2" name="Group 31"/>
          <p:cNvGrpSpPr/>
          <p:nvPr/>
        </p:nvGrpSpPr>
        <p:grpSpPr>
          <a:xfrm>
            <a:off x="1332494" y="5508980"/>
            <a:ext cx="7729398" cy="0"/>
            <a:chOff x="1139424" y="4056632"/>
            <a:chExt cx="6609461" cy="0"/>
          </a:xfrm>
        </p:grpSpPr>
        <p:cxnSp>
          <p:nvCxnSpPr>
            <p:cNvPr id="85" name="Straight Connector 21"/>
            <p:cNvCxnSpPr>
              <a:cxnSpLocks/>
            </p:cNvCxnSpPr>
            <p:nvPr>
              <p:custDataLst>
                <p:tags r:id="rId5"/>
              </p:custDataLst>
            </p:nvPr>
          </p:nvCxnSpPr>
          <p:spPr bwMode="gray">
            <a:xfrm>
              <a:off x="3394129" y="4056632"/>
              <a:ext cx="4354756" cy="0"/>
            </a:xfrm>
            <a:prstGeom prst="straightConnector1">
              <a:avLst/>
            </a:prstGeom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Straight Connector 21"/>
            <p:cNvCxnSpPr>
              <a:cxnSpLocks/>
            </p:cNvCxnSpPr>
            <p:nvPr>
              <p:custDataLst>
                <p:tags r:id="rId6"/>
              </p:custDataLst>
            </p:nvPr>
          </p:nvCxnSpPr>
          <p:spPr bwMode="gray">
            <a:xfrm>
              <a:off x="1139424" y="4056632"/>
              <a:ext cx="2053072" cy="0"/>
            </a:xfrm>
            <a:prstGeom prst="straightConnector1">
              <a:avLst/>
            </a:prstGeom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oup 6"/>
          <p:cNvGrpSpPr/>
          <p:nvPr/>
        </p:nvGrpSpPr>
        <p:grpSpPr>
          <a:xfrm>
            <a:off x="1332494" y="3334655"/>
            <a:ext cx="7729398" cy="935641"/>
            <a:chOff x="1139424" y="2237908"/>
            <a:chExt cx="6609461" cy="800073"/>
          </a:xfrm>
        </p:grpSpPr>
        <p:sp>
          <p:nvSpPr>
            <p:cNvPr id="76" name="TextBox 75"/>
            <p:cNvSpPr txBox="1">
              <a:spLocks/>
            </p:cNvSpPr>
            <p:nvPr/>
          </p:nvSpPr>
          <p:spPr>
            <a:xfrm>
              <a:off x="2085638" y="2237908"/>
              <a:ext cx="1106858" cy="238211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>
              <a:lvl1pPr lvl="0" indent="0">
                <a:spcBef>
                  <a:spcPct val="20000"/>
                </a:spcBef>
                <a:buFontTx/>
                <a:buNone/>
                <a:defRPr sz="1600"/>
              </a:lvl1pPr>
              <a:lvl2pPr marL="228600" lvl="1" indent="-228600">
                <a:spcBef>
                  <a:spcPct val="20000"/>
                </a:spcBef>
                <a:buFont typeface="Wingdings" pitchFamily="2" charset="2"/>
                <a:buChar char="§"/>
                <a:defRPr sz="1600" baseline="0"/>
              </a:lvl2pPr>
              <a:lvl3pPr marL="457200" lvl="2" indent="-228600">
                <a:spcBef>
                  <a:spcPct val="20000"/>
                </a:spcBef>
                <a:buFont typeface="Arial" pitchFamily="34" charset="0"/>
                <a:buChar char="–"/>
                <a:defRPr sz="1600" baseline="0"/>
              </a:lvl3pPr>
              <a:lvl4pPr marL="685800" lvl="3" indent="-228600">
                <a:spcBef>
                  <a:spcPct val="20000"/>
                </a:spcBef>
                <a:buFont typeface="Arial" pitchFamily="34" charset="0"/>
                <a:buChar char="•"/>
                <a:defRPr sz="1600" baseline="0"/>
              </a:lvl4pPr>
              <a:lvl5pPr marL="914400" indent="-228600">
                <a:spcBef>
                  <a:spcPct val="20000"/>
                </a:spcBef>
                <a:buFont typeface="Arial" pitchFamily="34" charset="0"/>
                <a:buChar char="»"/>
                <a:defRPr sz="1600" baseline="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defTabSz="802000">
                <a:defRPr/>
              </a:pPr>
              <a:r>
                <a:rPr lang="en-IN" sz="1520" b="1" dirty="0" err="1">
                  <a:solidFill>
                    <a:srgbClr val="B1C800"/>
                  </a:solidFill>
                </a:rPr>
                <a:t>Veikla</a:t>
              </a:r>
              <a:endParaRPr lang="en-IN" sz="1520" b="1" dirty="0">
                <a:solidFill>
                  <a:srgbClr val="B1C800"/>
                </a:solidFill>
              </a:endParaRPr>
            </a:p>
          </p:txBody>
        </p:sp>
        <p:sp>
          <p:nvSpPr>
            <p:cNvPr id="86" name="TextBox 85"/>
            <p:cNvSpPr txBox="1">
              <a:spLocks/>
            </p:cNvSpPr>
            <p:nvPr/>
          </p:nvSpPr>
          <p:spPr>
            <a:xfrm>
              <a:off x="3394129" y="2237908"/>
              <a:ext cx="4354756" cy="800073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defPPr>
                <a:defRPr lang="en-US"/>
              </a:defPPr>
              <a:lvl1pPr lvl="0" indent="0">
                <a:spcBef>
                  <a:spcPct val="20000"/>
                </a:spcBef>
                <a:buFontTx/>
                <a:buNone/>
                <a:defRPr sz="1600"/>
              </a:lvl1pPr>
              <a:lvl2pPr marL="228600" lvl="1" indent="-228600">
                <a:spcBef>
                  <a:spcPts val="0"/>
                </a:spcBef>
                <a:buFont typeface="Wingdings" pitchFamily="2" charset="2"/>
                <a:buChar char="§"/>
                <a:defRPr sz="1100"/>
              </a:lvl2pPr>
              <a:lvl3pPr marL="457200" lvl="2" indent="-228600">
                <a:spcBef>
                  <a:spcPct val="20000"/>
                </a:spcBef>
                <a:buFont typeface="Arial" pitchFamily="34" charset="0"/>
                <a:buChar char="–"/>
                <a:defRPr sz="1600"/>
              </a:lvl3pPr>
              <a:lvl4pPr marL="685800" lvl="3" indent="-228600">
                <a:spcBef>
                  <a:spcPct val="20000"/>
                </a:spcBef>
                <a:buFont typeface="Arial" pitchFamily="34" charset="0"/>
                <a:buChar char="•"/>
                <a:defRPr sz="1600"/>
              </a:lvl4pPr>
              <a:lvl5pPr marL="914400" indent="-228600">
                <a:spcBef>
                  <a:spcPct val="20000"/>
                </a:spcBef>
                <a:buFont typeface="Arial" pitchFamily="34" charset="0"/>
                <a:buChar char="»"/>
                <a:defRPr sz="160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lvl="1"/>
              <a:r>
                <a:rPr lang="en-IN" sz="1520" dirty="0" err="1"/>
                <a:t>Pastovūs</a:t>
              </a:r>
              <a:r>
                <a:rPr lang="en-IN" sz="1520" dirty="0"/>
                <a:t> </a:t>
              </a:r>
              <a:r>
                <a:rPr lang="en-IN" sz="1520" dirty="0" err="1"/>
                <a:t>matav</a:t>
              </a:r>
              <a:r>
                <a:rPr lang="lt-LT" sz="1520" dirty="0"/>
                <a:t>i</a:t>
              </a:r>
              <a:r>
                <a:rPr lang="en-IN" sz="1520" dirty="0" err="1"/>
                <a:t>mai</a:t>
              </a:r>
              <a:r>
                <a:rPr lang="en-IN" sz="1520" dirty="0"/>
                <a:t> </a:t>
              </a:r>
              <a:r>
                <a:rPr lang="en-IN" sz="1520" dirty="0" err="1"/>
                <a:t>ak</a:t>
              </a:r>
              <a:r>
                <a:rPr lang="lt-LT" sz="1520" dirty="0"/>
                <a:t>s</a:t>
              </a:r>
              <a:r>
                <a:rPr lang="en-IN" sz="1520" dirty="0" err="1"/>
                <a:t>elerometru</a:t>
              </a:r>
              <a:r>
                <a:rPr lang="en-IN" sz="1520" dirty="0"/>
                <a:t>, kas 10 </a:t>
              </a:r>
              <a:r>
                <a:rPr lang="en-IN" sz="1520" dirty="0" err="1"/>
                <a:t>minučių</a:t>
              </a:r>
              <a:r>
                <a:rPr lang="en-IN" sz="1520" dirty="0"/>
                <a:t> </a:t>
              </a:r>
              <a:r>
                <a:rPr lang="en-IN" sz="1520" dirty="0" err="1"/>
                <a:t>veiklos</a:t>
              </a:r>
              <a:r>
                <a:rPr lang="en-IN" sz="1520" dirty="0"/>
                <a:t> </a:t>
              </a:r>
              <a:r>
                <a:rPr lang="en-IN" sz="1520" dirty="0" err="1"/>
                <a:t>duomenų</a:t>
              </a:r>
              <a:r>
                <a:rPr lang="en-IN" sz="1520" dirty="0"/>
                <a:t> </a:t>
              </a:r>
              <a:r>
                <a:rPr lang="en-IN" sz="1520" dirty="0" err="1"/>
                <a:t>santraukos</a:t>
              </a:r>
              <a:r>
                <a:rPr lang="lt-LT" sz="1520" dirty="0"/>
                <a:t>;</a:t>
              </a:r>
              <a:endParaRPr lang="en-IN" sz="1520" dirty="0"/>
            </a:p>
            <a:p>
              <a:pPr lvl="1"/>
              <a:r>
                <a:rPr lang="en-IN" sz="1520" dirty="0" err="1"/>
                <a:t>Nustato</a:t>
              </a:r>
              <a:r>
                <a:rPr lang="en-IN" sz="1520" dirty="0"/>
                <a:t> </a:t>
              </a:r>
              <a:r>
                <a:rPr lang="en-IN" sz="1520" dirty="0" err="1"/>
                <a:t>rują</a:t>
              </a:r>
              <a:r>
                <a:rPr lang="en-IN" sz="1520" dirty="0"/>
                <a:t>, </a:t>
              </a:r>
              <a:r>
                <a:rPr lang="en-IN" sz="1520" dirty="0" err="1"/>
                <a:t>sveikatos</a:t>
              </a:r>
              <a:r>
                <a:rPr lang="en-IN" sz="1520" dirty="0"/>
                <a:t> </a:t>
              </a:r>
              <a:r>
                <a:rPr lang="en-IN" sz="1520" dirty="0" err="1"/>
                <a:t>problemas</a:t>
              </a:r>
              <a:r>
                <a:rPr lang="lt-LT" sz="1520" dirty="0"/>
                <a:t> </a:t>
              </a:r>
              <a:r>
                <a:rPr lang="en-IN" sz="1520" dirty="0"/>
                <a:t>(</a:t>
              </a:r>
              <a:r>
                <a:rPr lang="en-IN" sz="1520" dirty="0" err="1"/>
                <a:t>staigūs</a:t>
              </a:r>
              <a:r>
                <a:rPr lang="en-IN" sz="1520" dirty="0"/>
                <a:t> </a:t>
              </a:r>
              <a:r>
                <a:rPr lang="en-IN" sz="1520" dirty="0" err="1"/>
                <a:t>aktyvumo</a:t>
              </a:r>
              <a:r>
                <a:rPr lang="en-IN" sz="1520" dirty="0"/>
                <a:t> </a:t>
              </a:r>
              <a:r>
                <a:rPr lang="en-IN" sz="1520" dirty="0" err="1"/>
                <a:t>sumažėjimai</a:t>
              </a:r>
              <a:r>
                <a:rPr lang="en-IN" sz="1520" dirty="0"/>
                <a:t>, </a:t>
              </a:r>
              <a:r>
                <a:rPr lang="en-IN" sz="1520" dirty="0" err="1"/>
                <a:t>pasyvumas</a:t>
              </a:r>
              <a:r>
                <a:rPr lang="en-IN" sz="1520" dirty="0"/>
                <a:t>)</a:t>
              </a:r>
              <a:r>
                <a:rPr lang="lt-LT" sz="1520" dirty="0"/>
                <a:t>.</a:t>
              </a:r>
              <a:endParaRPr lang="en-IN" sz="1520" dirty="0"/>
            </a:p>
          </p:txBody>
        </p:sp>
        <p:sp>
          <p:nvSpPr>
            <p:cNvPr id="91" name="Rectangle 90"/>
            <p:cNvSpPr/>
            <p:nvPr/>
          </p:nvSpPr>
          <p:spPr>
            <a:xfrm>
              <a:off x="1139424" y="2237908"/>
              <a:ext cx="868373" cy="7096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02000">
                <a:defRPr/>
              </a:pPr>
              <a:endParaRPr lang="en-IN" sz="1520" dirty="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1332493" y="2187485"/>
            <a:ext cx="8396894" cy="3114677"/>
            <a:chOff x="1139424" y="1255159"/>
            <a:chExt cx="6506640" cy="2663382"/>
          </a:xfrm>
        </p:grpSpPr>
        <p:grpSp>
          <p:nvGrpSpPr>
            <p:cNvPr id="3" name="Group 2"/>
            <p:cNvGrpSpPr/>
            <p:nvPr/>
          </p:nvGrpSpPr>
          <p:grpSpPr>
            <a:xfrm>
              <a:off x="1139424" y="1255159"/>
              <a:ext cx="6506640" cy="800073"/>
              <a:chOff x="1139424" y="1255159"/>
              <a:chExt cx="6506640" cy="800073"/>
            </a:xfrm>
          </p:grpSpPr>
          <p:sp>
            <p:nvSpPr>
              <p:cNvPr id="72" name="TextBox 71"/>
              <p:cNvSpPr txBox="1">
                <a:spLocks/>
              </p:cNvSpPr>
              <p:nvPr/>
            </p:nvSpPr>
            <p:spPr>
              <a:xfrm>
                <a:off x="2085639" y="1263335"/>
                <a:ext cx="1106858" cy="200018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lvl="0" indent="0">
                  <a:spcBef>
                    <a:spcPct val="20000"/>
                  </a:spcBef>
                  <a:buFontTx/>
                  <a:buNone/>
                  <a:defRPr sz="1600"/>
                </a:lvl1pPr>
                <a:lvl2pPr marL="228600" lvl="1" indent="-228600">
                  <a:spcBef>
                    <a:spcPct val="20000"/>
                  </a:spcBef>
                  <a:buFont typeface="Wingdings" pitchFamily="2" charset="2"/>
                  <a:buChar char="§"/>
                  <a:defRPr sz="1600" baseline="0"/>
                </a:lvl2pPr>
                <a:lvl3pPr marL="457200" lvl="2" indent="-228600">
                  <a:spcBef>
                    <a:spcPct val="20000"/>
                  </a:spcBef>
                  <a:buFont typeface="Arial" pitchFamily="34" charset="0"/>
                  <a:buChar char="–"/>
                  <a:defRPr sz="1600" baseline="0"/>
                </a:lvl3pPr>
                <a:lvl4pPr marL="685800" lvl="3" indent="-228600">
                  <a:spcBef>
                    <a:spcPct val="20000"/>
                  </a:spcBef>
                  <a:buFont typeface="Arial" pitchFamily="34" charset="0"/>
                  <a:buChar char="•"/>
                  <a:defRPr sz="1600" baseline="0"/>
                </a:lvl4pPr>
                <a:lvl5pPr marL="914400" indent="-228600">
                  <a:spcBef>
                    <a:spcPct val="20000"/>
                  </a:spcBef>
                  <a:buFont typeface="Arial" pitchFamily="34" charset="0"/>
                  <a:buChar char="»"/>
                  <a:defRPr sz="1600" baseline="0"/>
                </a:lvl5pPr>
                <a:lvl6pPr marL="25146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6pPr>
                <a:lvl7pPr marL="29718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7pPr>
                <a:lvl8pPr marL="34290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8pPr>
                <a:lvl9pPr marL="38862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9pPr>
              </a:lstStyle>
              <a:p>
                <a:pPr defTabSz="802000">
                  <a:defRPr/>
                </a:pPr>
                <a:r>
                  <a:rPr lang="en-IN" sz="1520" b="1" dirty="0" err="1">
                    <a:solidFill>
                      <a:srgbClr val="B1C800"/>
                    </a:solidFill>
                  </a:rPr>
                  <a:t>Temperatūra</a:t>
                </a:r>
                <a:endParaRPr lang="en-IN" sz="1520" b="1" dirty="0">
                  <a:solidFill>
                    <a:srgbClr val="B1C800"/>
                  </a:solidFill>
                </a:endParaRPr>
              </a:p>
            </p:txBody>
          </p:sp>
          <p:sp>
            <p:nvSpPr>
              <p:cNvPr id="81" name="TextBox 80"/>
              <p:cNvSpPr txBox="1">
                <a:spLocks/>
              </p:cNvSpPr>
              <p:nvPr/>
            </p:nvSpPr>
            <p:spPr>
              <a:xfrm>
                <a:off x="3197036" y="1255159"/>
                <a:ext cx="4449028" cy="800073"/>
              </a:xfrm>
              <a:prstGeom prst="rect">
                <a:avLst/>
              </a:prstGeom>
            </p:spPr>
            <p:txBody>
              <a:bodyPr vert="horz" wrap="square" lIns="0" tIns="0" rIns="0" bIns="0" rtlCol="0" anchor="t" anchorCtr="0">
                <a:spAutoFit/>
              </a:bodyPr>
              <a:lstStyle>
                <a:defPPr>
                  <a:defRPr lang="en-US"/>
                </a:defPPr>
                <a:lvl1pPr lvl="0" indent="0">
                  <a:spcBef>
                    <a:spcPct val="20000"/>
                  </a:spcBef>
                  <a:buFontTx/>
                  <a:buNone/>
                  <a:defRPr sz="1600"/>
                </a:lvl1pPr>
                <a:lvl2pPr marL="228600" lvl="1" indent="-228600">
                  <a:spcBef>
                    <a:spcPts val="0"/>
                  </a:spcBef>
                  <a:buFont typeface="Wingdings" pitchFamily="2" charset="2"/>
                  <a:buChar char="§"/>
                  <a:defRPr sz="1100"/>
                </a:lvl2pPr>
                <a:lvl3pPr marL="457200" lvl="2" indent="-228600">
                  <a:spcBef>
                    <a:spcPct val="20000"/>
                  </a:spcBef>
                  <a:buFont typeface="Arial" pitchFamily="34" charset="0"/>
                  <a:buChar char="–"/>
                  <a:defRPr sz="1600"/>
                </a:lvl3pPr>
                <a:lvl4pPr marL="685800" lvl="3" indent="-228600">
                  <a:spcBef>
                    <a:spcPct val="20000"/>
                  </a:spcBef>
                  <a:buFont typeface="Arial" pitchFamily="34" charset="0"/>
                  <a:buChar char="•"/>
                  <a:defRPr sz="1600"/>
                </a:lvl4pPr>
                <a:lvl5pPr marL="914400" indent="-228600">
                  <a:spcBef>
                    <a:spcPct val="20000"/>
                  </a:spcBef>
                  <a:buFont typeface="Arial" pitchFamily="34" charset="0"/>
                  <a:buChar char="»"/>
                  <a:defRPr sz="1600"/>
                </a:lvl5pPr>
                <a:lvl6pPr marL="25146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6pPr>
                <a:lvl7pPr marL="29718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7pPr>
                <a:lvl8pPr marL="34290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8pPr>
                <a:lvl9pPr marL="38862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9pPr>
              </a:lstStyle>
              <a:p>
                <a:pPr lvl="1"/>
                <a:r>
                  <a:rPr lang="en-IN" sz="1520" dirty="0" err="1"/>
                  <a:t>Matuojama</a:t>
                </a:r>
                <a:r>
                  <a:rPr lang="en-IN" sz="1520" dirty="0"/>
                  <a:t> </a:t>
                </a:r>
                <a:r>
                  <a:rPr lang="en-IN" sz="1520" dirty="0" err="1"/>
                  <a:t>kas</a:t>
                </a:r>
                <a:r>
                  <a:rPr lang="en-IN" sz="1520" dirty="0"/>
                  <a:t> 10min; </a:t>
                </a:r>
                <a:r>
                  <a:rPr lang="en-IN" sz="1520" dirty="0" err="1"/>
                  <a:t>didelė</a:t>
                </a:r>
                <a:r>
                  <a:rPr lang="en-IN" sz="1520" dirty="0"/>
                  <a:t> </a:t>
                </a:r>
                <a:r>
                  <a:rPr lang="en-IN" sz="1520" dirty="0" err="1"/>
                  <a:t>koreliacija</a:t>
                </a:r>
                <a:r>
                  <a:rPr lang="en-IN" sz="1520" dirty="0"/>
                  <a:t> </a:t>
                </a:r>
                <a:r>
                  <a:rPr lang="en-IN" sz="1520" dirty="0" err="1"/>
                  <a:t>su</a:t>
                </a:r>
                <a:r>
                  <a:rPr lang="en-IN" sz="1520" dirty="0"/>
                  <a:t> </a:t>
                </a:r>
                <a:r>
                  <a:rPr lang="en-IN" sz="1520" dirty="0" err="1"/>
                  <a:t>viso</a:t>
                </a:r>
                <a:r>
                  <a:rPr lang="en-IN" sz="1520" dirty="0"/>
                  <a:t> </a:t>
                </a:r>
                <a:r>
                  <a:rPr lang="en-IN" sz="1520" dirty="0" err="1"/>
                  <a:t>kūno</a:t>
                </a:r>
                <a:r>
                  <a:rPr lang="en-IN" sz="1520" dirty="0"/>
                  <a:t> </a:t>
                </a:r>
                <a:r>
                  <a:rPr lang="en-IN" sz="1520" dirty="0" err="1"/>
                  <a:t>temperatūra</a:t>
                </a:r>
                <a:r>
                  <a:rPr lang="en-IN" sz="1520" dirty="0"/>
                  <a:t>, </a:t>
                </a:r>
                <a:r>
                  <a:rPr lang="en-IN" sz="1520" dirty="0" err="1"/>
                  <a:t>truputį</a:t>
                </a:r>
                <a:r>
                  <a:rPr lang="en-IN" sz="1520" dirty="0"/>
                  <a:t> </a:t>
                </a:r>
                <a:r>
                  <a:rPr lang="en-IN" sz="1520" dirty="0" err="1"/>
                  <a:t>aukštesnė</a:t>
                </a:r>
                <a:r>
                  <a:rPr lang="en-IN" sz="1520" dirty="0"/>
                  <a:t> (</a:t>
                </a:r>
                <a:r>
                  <a:rPr lang="en-IN" sz="1520" dirty="0" err="1"/>
                  <a:t>dėl</a:t>
                </a:r>
                <a:r>
                  <a:rPr lang="en-IN" sz="1520" dirty="0"/>
                  <a:t> </a:t>
                </a:r>
                <a:r>
                  <a:rPr lang="en-IN" sz="1520" dirty="0" err="1"/>
                  <a:t>fermentacijos</a:t>
                </a:r>
                <a:r>
                  <a:rPr lang="en-IN" sz="1520" dirty="0"/>
                  <a:t>)</a:t>
                </a:r>
                <a:r>
                  <a:rPr lang="lt-LT" sz="1520" dirty="0"/>
                  <a:t>;</a:t>
                </a:r>
                <a:endParaRPr lang="en-IN" sz="1520" dirty="0"/>
              </a:p>
              <a:p>
                <a:pPr lvl="1"/>
                <a:r>
                  <a:rPr lang="en-IN" sz="1520" dirty="0" err="1"/>
                  <a:t>Susijusi</a:t>
                </a:r>
                <a:r>
                  <a:rPr lang="en-IN" sz="1520" dirty="0"/>
                  <a:t> </a:t>
                </a:r>
                <a:r>
                  <a:rPr lang="en-IN" sz="1520" dirty="0" err="1"/>
                  <a:t>su</a:t>
                </a:r>
                <a:r>
                  <a:rPr lang="en-IN" sz="1520" dirty="0"/>
                  <a:t> </a:t>
                </a:r>
                <a:r>
                  <a:rPr lang="en-IN" sz="1520" dirty="0" err="1"/>
                  <a:t>karščiavimu</a:t>
                </a:r>
                <a:r>
                  <a:rPr lang="en-IN" sz="1520" dirty="0"/>
                  <a:t>, </a:t>
                </a:r>
                <a:r>
                  <a:rPr lang="en-IN" sz="1520" dirty="0" err="1"/>
                  <a:t>metabolizmu</a:t>
                </a:r>
                <a:r>
                  <a:rPr lang="en-IN" sz="1520" dirty="0"/>
                  <a:t>, </a:t>
                </a:r>
                <a:r>
                  <a:rPr lang="en-IN" sz="1520" dirty="0" err="1"/>
                  <a:t>vandens</a:t>
                </a:r>
                <a:r>
                  <a:rPr lang="en-IN" sz="1520" dirty="0"/>
                  <a:t> </a:t>
                </a:r>
                <a:r>
                  <a:rPr lang="en-IN" sz="1520" dirty="0" err="1"/>
                  <a:t>suvartojimu</a:t>
                </a:r>
                <a:r>
                  <a:rPr lang="en-IN" sz="1520" dirty="0"/>
                  <a:t>, </a:t>
                </a:r>
                <a:r>
                  <a:rPr lang="en-IN" sz="1520" dirty="0" err="1"/>
                  <a:t>artėjančiu</a:t>
                </a:r>
                <a:r>
                  <a:rPr lang="en-IN" sz="1520" dirty="0"/>
                  <a:t> </a:t>
                </a:r>
                <a:r>
                  <a:rPr lang="en-IN" sz="1520" dirty="0" err="1"/>
                  <a:t>veršiavimusi</a:t>
                </a:r>
                <a:r>
                  <a:rPr lang="en-IN" sz="1520" dirty="0"/>
                  <a:t>.</a:t>
                </a:r>
              </a:p>
            </p:txBody>
          </p:sp>
          <p:sp>
            <p:nvSpPr>
              <p:cNvPr id="90" name="Rectangle 89"/>
              <p:cNvSpPr/>
              <p:nvPr/>
            </p:nvSpPr>
            <p:spPr>
              <a:xfrm>
                <a:off x="1139424" y="1263335"/>
                <a:ext cx="868373" cy="713722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802000">
                  <a:defRPr/>
                </a:pPr>
                <a:endParaRPr lang="en-IN" sz="152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9" name="Group 8"/>
            <p:cNvGrpSpPr/>
            <p:nvPr/>
          </p:nvGrpSpPr>
          <p:grpSpPr>
            <a:xfrm>
              <a:off x="1139424" y="3207841"/>
              <a:ext cx="6412031" cy="710700"/>
              <a:chOff x="1139424" y="3207333"/>
              <a:chExt cx="6412031" cy="710700"/>
            </a:xfrm>
          </p:grpSpPr>
          <p:sp>
            <p:nvSpPr>
              <p:cNvPr id="87" name="TextBox 86"/>
              <p:cNvSpPr txBox="1">
                <a:spLocks/>
              </p:cNvSpPr>
              <p:nvPr/>
            </p:nvSpPr>
            <p:spPr>
              <a:xfrm>
                <a:off x="3197036" y="3207333"/>
                <a:ext cx="4354419" cy="600055"/>
              </a:xfrm>
              <a:prstGeom prst="rect">
                <a:avLst/>
              </a:prstGeom>
            </p:spPr>
            <p:txBody>
              <a:bodyPr vert="horz" wrap="square" lIns="0" tIns="0" rIns="0" bIns="0" rtlCol="0" anchor="t" anchorCtr="0">
                <a:spAutoFit/>
              </a:bodyPr>
              <a:lstStyle>
                <a:defPPr>
                  <a:defRPr lang="en-US"/>
                </a:defPPr>
                <a:lvl1pPr lvl="0" indent="0">
                  <a:spcBef>
                    <a:spcPct val="20000"/>
                  </a:spcBef>
                  <a:buFontTx/>
                  <a:buNone/>
                  <a:defRPr sz="1600"/>
                </a:lvl1pPr>
                <a:lvl2pPr marL="228600" lvl="1" indent="-228600">
                  <a:spcBef>
                    <a:spcPts val="0"/>
                  </a:spcBef>
                  <a:buFont typeface="Wingdings" pitchFamily="2" charset="2"/>
                  <a:buChar char="§"/>
                  <a:defRPr sz="1100"/>
                </a:lvl2pPr>
                <a:lvl3pPr marL="457200" lvl="2" indent="-228600">
                  <a:spcBef>
                    <a:spcPct val="20000"/>
                  </a:spcBef>
                  <a:buFont typeface="Arial" pitchFamily="34" charset="0"/>
                  <a:buChar char="–"/>
                  <a:defRPr sz="1600"/>
                </a:lvl3pPr>
                <a:lvl4pPr marL="685800" lvl="3" indent="-228600">
                  <a:spcBef>
                    <a:spcPct val="20000"/>
                  </a:spcBef>
                  <a:buFont typeface="Arial" pitchFamily="34" charset="0"/>
                  <a:buChar char="•"/>
                  <a:defRPr sz="1600"/>
                </a:lvl4pPr>
                <a:lvl5pPr marL="914400" indent="-228600">
                  <a:spcBef>
                    <a:spcPct val="20000"/>
                  </a:spcBef>
                  <a:buFont typeface="Arial" pitchFamily="34" charset="0"/>
                  <a:buChar char="»"/>
                  <a:defRPr sz="1600"/>
                </a:lvl5pPr>
                <a:lvl6pPr marL="25146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6pPr>
                <a:lvl7pPr marL="29718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7pPr>
                <a:lvl8pPr marL="34290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8pPr>
                <a:lvl9pPr marL="38862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9pPr>
              </a:lstStyle>
              <a:p>
                <a:pPr lvl="1"/>
                <a:r>
                  <a:rPr lang="en-IN" sz="1520" dirty="0" err="1"/>
                  <a:t>Matuojamas</a:t>
                </a:r>
                <a:r>
                  <a:rPr lang="en-IN" sz="1520" dirty="0"/>
                  <a:t> kas 10min, </a:t>
                </a:r>
                <a:r>
                  <a:rPr lang="en-IN" sz="1520" dirty="0" err="1"/>
                  <a:t>rodo</a:t>
                </a:r>
                <a:r>
                  <a:rPr lang="en-IN" sz="1520" dirty="0"/>
                  <a:t> </a:t>
                </a:r>
                <a:r>
                  <a:rPr lang="en-IN" sz="1520" dirty="0" err="1"/>
                  <a:t>dienos</a:t>
                </a:r>
                <a:r>
                  <a:rPr lang="en-IN" sz="1520" dirty="0"/>
                  <a:t> </a:t>
                </a:r>
                <a:r>
                  <a:rPr lang="en-IN" sz="1520" dirty="0" err="1"/>
                  <a:t>pokyčius</a:t>
                </a:r>
                <a:r>
                  <a:rPr lang="lt-LT" sz="1520" dirty="0"/>
                  <a:t>;</a:t>
                </a:r>
                <a:endParaRPr lang="en-IN" sz="1520" dirty="0"/>
              </a:p>
              <a:p>
                <a:pPr lvl="1"/>
                <a:r>
                  <a:rPr lang="en-IN" sz="1520" dirty="0" err="1"/>
                  <a:t>Patikimas</a:t>
                </a:r>
                <a:r>
                  <a:rPr lang="en-IN" sz="1520" dirty="0"/>
                  <a:t> </a:t>
                </a:r>
                <a:r>
                  <a:rPr lang="en-IN" sz="1520" dirty="0" err="1"/>
                  <a:t>prieskrandžio</a:t>
                </a:r>
                <a:r>
                  <a:rPr lang="en-IN" sz="1520" dirty="0"/>
                  <a:t> </a:t>
                </a:r>
                <a:r>
                  <a:rPr lang="en-IN" sz="1520" dirty="0" err="1"/>
                  <a:t>acidozės</a:t>
                </a:r>
                <a:r>
                  <a:rPr lang="en-IN" sz="1520" dirty="0"/>
                  <a:t> </a:t>
                </a:r>
                <a:r>
                  <a:rPr lang="en-IN" sz="1520" dirty="0" err="1"/>
                  <a:t>nustatymas</a:t>
                </a:r>
                <a:r>
                  <a:rPr lang="en-IN" sz="1520" dirty="0"/>
                  <a:t> (</a:t>
                </a:r>
                <a:r>
                  <a:rPr lang="en-IN" sz="1520" dirty="0" err="1"/>
                  <a:t>auksinis</a:t>
                </a:r>
                <a:r>
                  <a:rPr lang="en-IN" sz="1520" dirty="0"/>
                  <a:t> </a:t>
                </a:r>
                <a:r>
                  <a:rPr lang="en-IN" sz="1520" dirty="0" err="1"/>
                  <a:t>standartas</a:t>
                </a:r>
                <a:r>
                  <a:rPr lang="en-IN" sz="1520" dirty="0"/>
                  <a:t>)</a:t>
                </a:r>
                <a:r>
                  <a:rPr lang="lt-LT" sz="1520" dirty="0"/>
                  <a:t>;</a:t>
                </a:r>
                <a:endParaRPr lang="en-IN" sz="1520" dirty="0"/>
              </a:p>
              <a:p>
                <a:pPr lvl="1"/>
                <a:r>
                  <a:rPr lang="lt-LT" sz="1520" dirty="0"/>
                  <a:t>Šėrimo racionų kontroliavimas.</a:t>
                </a:r>
                <a:endParaRPr lang="en-IN" sz="1520" dirty="0"/>
              </a:p>
            </p:txBody>
          </p:sp>
          <p:sp>
            <p:nvSpPr>
              <p:cNvPr id="88" name="TextBox 87"/>
              <p:cNvSpPr txBox="1">
                <a:spLocks/>
              </p:cNvSpPr>
              <p:nvPr/>
            </p:nvSpPr>
            <p:spPr>
              <a:xfrm>
                <a:off x="2085638" y="3208385"/>
                <a:ext cx="1106858" cy="238211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noAutofit/>
              </a:bodyPr>
              <a:lstStyle>
                <a:lvl1pPr lvl="0" indent="0">
                  <a:spcBef>
                    <a:spcPct val="20000"/>
                  </a:spcBef>
                  <a:buFontTx/>
                  <a:buNone/>
                  <a:defRPr sz="1600"/>
                </a:lvl1pPr>
                <a:lvl2pPr marL="228600" lvl="1" indent="-228600">
                  <a:spcBef>
                    <a:spcPct val="20000"/>
                  </a:spcBef>
                  <a:buFont typeface="Wingdings" pitchFamily="2" charset="2"/>
                  <a:buChar char="§"/>
                  <a:defRPr sz="1600" baseline="0"/>
                </a:lvl2pPr>
                <a:lvl3pPr marL="457200" lvl="2" indent="-228600">
                  <a:spcBef>
                    <a:spcPct val="20000"/>
                  </a:spcBef>
                  <a:buFont typeface="Arial" pitchFamily="34" charset="0"/>
                  <a:buChar char="–"/>
                  <a:defRPr sz="1600" baseline="0"/>
                </a:lvl3pPr>
                <a:lvl4pPr marL="685800" lvl="3" indent="-228600">
                  <a:spcBef>
                    <a:spcPct val="20000"/>
                  </a:spcBef>
                  <a:buFont typeface="Arial" pitchFamily="34" charset="0"/>
                  <a:buChar char="•"/>
                  <a:defRPr sz="1600" baseline="0"/>
                </a:lvl4pPr>
                <a:lvl5pPr marL="914400" indent="-228600">
                  <a:spcBef>
                    <a:spcPct val="20000"/>
                  </a:spcBef>
                  <a:buFont typeface="Arial" pitchFamily="34" charset="0"/>
                  <a:buChar char="»"/>
                  <a:defRPr sz="1600" baseline="0"/>
                </a:lvl5pPr>
                <a:lvl6pPr marL="25146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6pPr>
                <a:lvl7pPr marL="29718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7pPr>
                <a:lvl8pPr marL="34290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8pPr>
                <a:lvl9pPr marL="38862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9pPr>
              </a:lstStyle>
              <a:p>
                <a:pPr defTabSz="802000">
                  <a:defRPr/>
                </a:pPr>
                <a:r>
                  <a:rPr lang="en-IN" sz="1520" b="1" dirty="0" err="1">
                    <a:solidFill>
                      <a:srgbClr val="B1C800"/>
                    </a:solidFill>
                  </a:rPr>
                  <a:t>Prieskrandžio</a:t>
                </a:r>
                <a:r>
                  <a:rPr lang="en-IN" sz="1520" b="1" dirty="0">
                    <a:solidFill>
                      <a:srgbClr val="B1C800"/>
                    </a:solidFill>
                  </a:rPr>
                  <a:t> pH</a:t>
                </a:r>
              </a:p>
            </p:txBody>
          </p:sp>
          <p:sp>
            <p:nvSpPr>
              <p:cNvPr id="92" name="Rectangle 91"/>
              <p:cNvSpPr/>
              <p:nvPr/>
            </p:nvSpPr>
            <p:spPr>
              <a:xfrm>
                <a:off x="1139424" y="3208385"/>
                <a:ext cx="868373" cy="70964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802000">
                  <a:defRPr/>
                </a:pPr>
                <a:endParaRPr lang="en-IN" sz="152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grpSp>
        <p:nvGrpSpPr>
          <p:cNvPr id="10" name="Group 9"/>
          <p:cNvGrpSpPr/>
          <p:nvPr/>
        </p:nvGrpSpPr>
        <p:grpSpPr>
          <a:xfrm>
            <a:off x="1332494" y="5609879"/>
            <a:ext cx="7729398" cy="803945"/>
            <a:chOff x="1139424" y="4181671"/>
            <a:chExt cx="6609461" cy="687459"/>
          </a:xfrm>
        </p:grpSpPr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2085638" y="4181671"/>
              <a:ext cx="1106858" cy="20001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spcBef>
                  <a:spcPct val="20000"/>
                </a:spcBef>
                <a:buFontTx/>
                <a:buNone/>
                <a:defRPr sz="1600"/>
              </a:lvl1pPr>
              <a:lvl2pPr marL="228600" lvl="1" indent="-228600">
                <a:spcBef>
                  <a:spcPct val="20000"/>
                </a:spcBef>
                <a:buFont typeface="Wingdings" pitchFamily="2" charset="2"/>
                <a:buChar char="§"/>
                <a:defRPr sz="1600" baseline="0"/>
              </a:lvl2pPr>
              <a:lvl3pPr marL="457200" lvl="2" indent="-228600">
                <a:spcBef>
                  <a:spcPct val="20000"/>
                </a:spcBef>
                <a:buFont typeface="Arial" pitchFamily="34" charset="0"/>
                <a:buChar char="–"/>
                <a:defRPr sz="1600" baseline="0"/>
              </a:lvl3pPr>
              <a:lvl4pPr marL="685800" lvl="3" indent="-228600">
                <a:spcBef>
                  <a:spcPct val="20000"/>
                </a:spcBef>
                <a:buFont typeface="Arial" pitchFamily="34" charset="0"/>
                <a:buChar char="•"/>
                <a:defRPr sz="1600" baseline="0"/>
              </a:lvl4pPr>
              <a:lvl5pPr marL="914400" indent="-228600">
                <a:spcBef>
                  <a:spcPct val="20000"/>
                </a:spcBef>
                <a:buFont typeface="Arial" pitchFamily="34" charset="0"/>
                <a:buChar char="»"/>
                <a:defRPr sz="1600" baseline="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defTabSz="802000">
                <a:defRPr/>
              </a:pPr>
              <a:r>
                <a:rPr lang="en-IN" sz="1520" b="1" dirty="0" err="1">
                  <a:solidFill>
                    <a:srgbClr val="B1C800"/>
                  </a:solidFill>
                </a:rPr>
                <a:t>Klimato</a:t>
              </a:r>
              <a:r>
                <a:rPr lang="en-IN" sz="1520" b="1" dirty="0">
                  <a:solidFill>
                    <a:srgbClr val="B1C800"/>
                  </a:solidFill>
                </a:rPr>
                <a:t> </a:t>
              </a:r>
              <a:r>
                <a:rPr lang="en-IN" sz="1520" b="1" dirty="0" err="1">
                  <a:solidFill>
                    <a:srgbClr val="B1C800"/>
                  </a:solidFill>
                </a:rPr>
                <a:t>sąlygos</a:t>
              </a:r>
              <a:endParaRPr lang="en-IN" sz="1520" b="1" dirty="0">
                <a:solidFill>
                  <a:srgbClr val="B1C800"/>
                </a:solidFill>
              </a:endParaRPr>
            </a:p>
          </p:txBody>
        </p:sp>
        <p:sp>
          <p:nvSpPr>
            <p:cNvPr id="82" name="TextBox 81"/>
            <p:cNvSpPr txBox="1">
              <a:spLocks/>
            </p:cNvSpPr>
            <p:nvPr/>
          </p:nvSpPr>
          <p:spPr>
            <a:xfrm>
              <a:off x="3394129" y="4181671"/>
              <a:ext cx="4354756" cy="600055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defPPr>
                <a:defRPr lang="en-US"/>
              </a:defPPr>
              <a:lvl1pPr lvl="0" indent="0">
                <a:spcBef>
                  <a:spcPct val="20000"/>
                </a:spcBef>
                <a:buFontTx/>
                <a:buNone/>
                <a:defRPr sz="1600"/>
              </a:lvl1pPr>
              <a:lvl2pPr marL="228600" lvl="1" indent="-228600">
                <a:spcBef>
                  <a:spcPts val="0"/>
                </a:spcBef>
                <a:buFont typeface="Wingdings" pitchFamily="2" charset="2"/>
                <a:buChar char="§"/>
                <a:defRPr sz="1100"/>
              </a:lvl2pPr>
              <a:lvl3pPr marL="457200" lvl="2" indent="-228600">
                <a:spcBef>
                  <a:spcPct val="20000"/>
                </a:spcBef>
                <a:buFont typeface="Arial" pitchFamily="34" charset="0"/>
                <a:buChar char="–"/>
                <a:defRPr sz="1600"/>
              </a:lvl3pPr>
              <a:lvl4pPr marL="685800" lvl="3" indent="-228600">
                <a:spcBef>
                  <a:spcPct val="20000"/>
                </a:spcBef>
                <a:buFont typeface="Arial" pitchFamily="34" charset="0"/>
                <a:buChar char="•"/>
                <a:defRPr sz="1600"/>
              </a:lvl4pPr>
              <a:lvl5pPr marL="914400" indent="-228600">
                <a:spcBef>
                  <a:spcPct val="20000"/>
                </a:spcBef>
                <a:buFont typeface="Arial" pitchFamily="34" charset="0"/>
                <a:buChar char="»"/>
                <a:defRPr sz="160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lvl="1"/>
              <a:r>
                <a:rPr lang="en-IN" sz="1520" dirty="0"/>
                <a:t>TDI </a:t>
              </a:r>
              <a:r>
                <a:rPr lang="en-IN" sz="1520" dirty="0" err="1"/>
                <a:t>apskaičiavimas</a:t>
              </a:r>
              <a:r>
                <a:rPr lang="lt-LT" sz="1520" dirty="0"/>
                <a:t> </a:t>
              </a:r>
              <a:r>
                <a:rPr lang="en-IN" sz="1520" dirty="0"/>
                <a:t>(</a:t>
              </a:r>
              <a:r>
                <a:rPr lang="lt-LT" sz="1520" dirty="0" err="1"/>
                <a:t>t</a:t>
              </a:r>
              <a:r>
                <a:rPr lang="en-IN" sz="1520" dirty="0" err="1"/>
                <a:t>emperatūr</a:t>
              </a:r>
              <a:r>
                <a:rPr lang="lt-LT" sz="1520" dirty="0"/>
                <a:t>os</a:t>
              </a:r>
              <a:r>
                <a:rPr lang="en-IN" sz="1520" dirty="0"/>
                <a:t>- </a:t>
              </a:r>
              <a:r>
                <a:rPr lang="lt-LT" sz="1520" dirty="0" err="1"/>
                <a:t>d</a:t>
              </a:r>
              <a:r>
                <a:rPr lang="en-IN" sz="1520" dirty="0" err="1"/>
                <a:t>rėgnum</a:t>
              </a:r>
              <a:r>
                <a:rPr lang="lt-LT" sz="1520" dirty="0"/>
                <a:t>o</a:t>
              </a:r>
              <a:r>
                <a:rPr lang="en-IN" sz="1520" dirty="0"/>
                <a:t>- </a:t>
              </a:r>
              <a:r>
                <a:rPr lang="lt-LT" sz="1520" dirty="0" err="1"/>
                <a:t>i</a:t>
              </a:r>
              <a:r>
                <a:rPr lang="en-IN" sz="1520" dirty="0" err="1"/>
                <a:t>ndeksas</a:t>
              </a:r>
              <a:r>
                <a:rPr lang="en-IN" sz="1520" dirty="0"/>
                <a:t>)</a:t>
              </a:r>
              <a:r>
                <a:rPr lang="lt-LT" sz="1520" dirty="0"/>
                <a:t>;</a:t>
              </a:r>
              <a:endParaRPr lang="en-IN" sz="1520" dirty="0"/>
            </a:p>
            <a:p>
              <a:pPr lvl="1"/>
              <a:r>
                <a:rPr lang="en-IN" sz="1520" dirty="0"/>
                <a:t>“</a:t>
              </a:r>
              <a:r>
                <a:rPr lang="en-IN" sz="1520" dirty="0" err="1"/>
                <a:t>Šiluminio</a:t>
              </a:r>
              <a:r>
                <a:rPr lang="en-IN" sz="1520" dirty="0"/>
                <a:t> </a:t>
              </a:r>
              <a:r>
                <a:rPr lang="en-IN" sz="1520" dirty="0" err="1"/>
                <a:t>streso</a:t>
              </a:r>
              <a:r>
                <a:rPr lang="en-IN" sz="1520" dirty="0"/>
                <a:t>” </a:t>
              </a:r>
              <a:r>
                <a:rPr lang="en-IN" sz="1520" dirty="0" err="1"/>
                <a:t>indikatoriai</a:t>
              </a:r>
              <a:r>
                <a:rPr lang="en-IN" sz="1520" dirty="0"/>
                <a:t>: TDI  ≥ 72 (</a:t>
              </a:r>
              <a:r>
                <a:rPr lang="en-IN" sz="1520" dirty="0" err="1"/>
                <a:t>mažas</a:t>
              </a:r>
              <a:r>
                <a:rPr lang="en-IN" sz="1520" dirty="0"/>
                <a:t>), THI </a:t>
              </a:r>
              <a:r>
                <a:rPr lang="de-AT" sz="1520" dirty="0"/>
                <a:t>≥ 78 (vidutinis) arba TDI ≥ 82 (</a:t>
              </a:r>
              <a:r>
                <a:rPr lang="de-AT" sz="1520" dirty="0" err="1"/>
                <a:t>ryškus</a:t>
              </a:r>
              <a:r>
                <a:rPr lang="de-AT" sz="1520" dirty="0"/>
                <a:t>)</a:t>
              </a:r>
              <a:r>
                <a:rPr lang="lt-LT" sz="1520" dirty="0"/>
                <a:t>.</a:t>
              </a:r>
              <a:endParaRPr lang="de-AT" sz="1520" dirty="0"/>
            </a:p>
          </p:txBody>
        </p:sp>
        <p:sp>
          <p:nvSpPr>
            <p:cNvPr id="93" name="Rectangle 92"/>
            <p:cNvSpPr/>
            <p:nvPr/>
          </p:nvSpPr>
          <p:spPr>
            <a:xfrm>
              <a:off x="1139424" y="4181671"/>
              <a:ext cx="868373" cy="687459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02000">
                <a:defRPr/>
              </a:pPr>
              <a:endParaRPr lang="en-IN" sz="1520" dirty="0">
                <a:solidFill>
                  <a:srgbClr val="000000"/>
                </a:solidFill>
                <a:latin typeface="Arial"/>
              </a:endParaRPr>
            </a:p>
          </p:txBody>
        </p:sp>
      </p:grpSp>
      <p:pic>
        <p:nvPicPr>
          <p:cNvPr id="94" name="Grafik 41">
            <a:extLst>
              <a:ext uri="{FF2B5EF4-FFF2-40B4-BE49-F238E27FC236}">
                <a16:creationId xmlns:a16="http://schemas.microsoft.com/office/drawing/2014/main" id="{28AD21BA-B10E-49DC-8F31-457500F0E0D6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432207" y="2427806"/>
            <a:ext cx="549630" cy="577577"/>
          </a:xfrm>
          <a:prstGeom prst="rect">
            <a:avLst/>
          </a:prstGeom>
        </p:spPr>
      </p:pic>
      <p:pic>
        <p:nvPicPr>
          <p:cNvPr id="95" name="Grafik 42">
            <a:extLst>
              <a:ext uri="{FF2B5EF4-FFF2-40B4-BE49-F238E27FC236}">
                <a16:creationId xmlns:a16="http://schemas.microsoft.com/office/drawing/2014/main" id="{E70FE7BD-580F-4124-B772-9EE7BC9EEC77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862047" y="2238382"/>
            <a:ext cx="362682" cy="373724"/>
          </a:xfrm>
          <a:prstGeom prst="rect">
            <a:avLst/>
          </a:prstGeom>
        </p:spPr>
      </p:pic>
      <p:pic>
        <p:nvPicPr>
          <p:cNvPr id="96" name="Grafik 43">
            <a:extLst>
              <a:ext uri="{FF2B5EF4-FFF2-40B4-BE49-F238E27FC236}">
                <a16:creationId xmlns:a16="http://schemas.microsoft.com/office/drawing/2014/main" id="{A92BBD17-81E3-4AB0-A470-39B7857857E6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432207" y="3593254"/>
            <a:ext cx="549630" cy="577577"/>
          </a:xfrm>
          <a:prstGeom prst="rect">
            <a:avLst/>
          </a:prstGeom>
        </p:spPr>
      </p:pic>
      <p:pic>
        <p:nvPicPr>
          <p:cNvPr id="97" name="Grafik 44" descr="Herztöne">
            <a:extLst>
              <a:ext uri="{FF2B5EF4-FFF2-40B4-BE49-F238E27FC236}">
                <a16:creationId xmlns:a16="http://schemas.microsoft.com/office/drawing/2014/main" id="{3083D076-857A-4A20-AD43-DB85C4E4262C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1710879" y="3327313"/>
            <a:ext cx="520873" cy="547359"/>
          </a:xfrm>
          <a:prstGeom prst="rect">
            <a:avLst/>
          </a:prstGeom>
        </p:spPr>
      </p:pic>
      <p:pic>
        <p:nvPicPr>
          <p:cNvPr id="98" name="Grafik 45">
            <a:extLst>
              <a:ext uri="{FF2B5EF4-FFF2-40B4-BE49-F238E27FC236}">
                <a16:creationId xmlns:a16="http://schemas.microsoft.com/office/drawing/2014/main" id="{42A4F6B4-51B5-4979-97D8-38BE46BF3A74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432208" y="4687023"/>
            <a:ext cx="549630" cy="577577"/>
          </a:xfrm>
          <a:prstGeom prst="rect">
            <a:avLst/>
          </a:prstGeom>
        </p:spPr>
      </p:pic>
      <p:sp>
        <p:nvSpPr>
          <p:cNvPr id="99" name="Textfeld 46">
            <a:extLst>
              <a:ext uri="{FF2B5EF4-FFF2-40B4-BE49-F238E27FC236}">
                <a16:creationId xmlns:a16="http://schemas.microsoft.com/office/drawing/2014/main" id="{D1E3FC48-A89D-452E-863E-DDA3DD4A2F7D}"/>
              </a:ext>
            </a:extLst>
          </p:cNvPr>
          <p:cNvSpPr txBox="1"/>
          <p:nvPr/>
        </p:nvSpPr>
        <p:spPr>
          <a:xfrm>
            <a:off x="1707024" y="4452823"/>
            <a:ext cx="603282" cy="3262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69334">
              <a:defRPr/>
            </a:pPr>
            <a:r>
              <a:rPr lang="de-AT" sz="1520" b="1" dirty="0">
                <a:solidFill>
                  <a:srgbClr val="B1C800"/>
                </a:solidFill>
                <a:latin typeface="Arial"/>
              </a:rPr>
              <a:t>pH</a:t>
            </a:r>
          </a:p>
        </p:txBody>
      </p:sp>
      <p:pic>
        <p:nvPicPr>
          <p:cNvPr id="100" name="Grafik 49">
            <a:extLst>
              <a:ext uri="{FF2B5EF4-FFF2-40B4-BE49-F238E27FC236}">
                <a16:creationId xmlns:a16="http://schemas.microsoft.com/office/drawing/2014/main" id="{C15FAAFB-077B-4CF9-929F-7F8F5CDDB94C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843773" y="5659819"/>
            <a:ext cx="411911" cy="424453"/>
          </a:xfrm>
          <a:prstGeom prst="rect">
            <a:avLst/>
          </a:prstGeom>
        </p:spPr>
      </p:pic>
      <p:pic>
        <p:nvPicPr>
          <p:cNvPr id="101" name="Grafik 50">
            <a:extLst>
              <a:ext uri="{FF2B5EF4-FFF2-40B4-BE49-F238E27FC236}">
                <a16:creationId xmlns:a16="http://schemas.microsoft.com/office/drawing/2014/main" id="{1007264C-CEAB-43B2-ACF9-C37F9AD697A8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1334057" y="5756662"/>
            <a:ext cx="712935" cy="749187"/>
          </a:xfrm>
          <a:prstGeom prst="rect">
            <a:avLst/>
          </a:prstGeom>
        </p:spPr>
      </p:pic>
      <p:sp>
        <p:nvSpPr>
          <p:cNvPr id="102" name="Content Placeholder 12"/>
          <p:cNvSpPr txBox="1">
            <a:spLocks/>
          </p:cNvSpPr>
          <p:nvPr/>
        </p:nvSpPr>
        <p:spPr bwMode="gray">
          <a:xfrm>
            <a:off x="381653" y="1802927"/>
            <a:ext cx="789057" cy="3211035"/>
          </a:xfrm>
          <a:prstGeom prst="rect">
            <a:avLst/>
          </a:prstGeom>
          <a:solidFill>
            <a:schemeClr val="accent4"/>
          </a:solidFill>
        </p:spPr>
        <p:txBody>
          <a:bodyPr vert="horz" wrap="square" lIns="21387" tIns="46784" rIns="46784" bIns="46784" rtlCol="0" anchor="ctr" anchorCtr="0">
            <a:noAutofit/>
          </a:bodyPr>
          <a:lstStyle>
            <a:defPPr>
              <a:defRPr lang="en-US"/>
            </a:defPPr>
            <a:lvl1pPr indent="0">
              <a:spcBef>
                <a:spcPct val="20000"/>
              </a:spcBef>
              <a:buFontTx/>
              <a:buNone/>
              <a:defRPr sz="2000" b="1">
                <a:solidFill>
                  <a:schemeClr val="accent4"/>
                </a:solidFill>
              </a:defRPr>
            </a:lvl1pPr>
            <a:lvl2pPr marL="228600" indent="-228600">
              <a:spcBef>
                <a:spcPct val="20000"/>
              </a:spcBef>
              <a:buFont typeface="Wingdings" pitchFamily="2" charset="2"/>
              <a:buChar char="§"/>
              <a:defRPr sz="1600"/>
            </a:lvl2pPr>
            <a:lvl3pPr marL="457200" indent="-228600">
              <a:spcBef>
                <a:spcPct val="20000"/>
              </a:spcBef>
              <a:buFont typeface="Arial" pitchFamily="34" charset="0"/>
              <a:buChar char="–"/>
              <a:defRPr sz="1600"/>
            </a:lvl3pPr>
            <a:lvl4pPr marL="685800" indent="-228600">
              <a:spcBef>
                <a:spcPct val="20000"/>
              </a:spcBef>
              <a:buFont typeface="Arial" pitchFamily="34" charset="0"/>
              <a:buChar char="•"/>
              <a:defRPr sz="1600"/>
            </a:lvl4pPr>
            <a:lvl5pPr marL="914400" indent="-228600">
              <a:spcBef>
                <a:spcPct val="20000"/>
              </a:spcBef>
              <a:buFont typeface="Arial" pitchFamily="34" charset="0"/>
              <a:buChar char="»"/>
              <a:defRPr sz="16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defTabSz="802000">
              <a:defRPr/>
            </a:pPr>
            <a:r>
              <a:rPr lang="en-US" sz="1520" dirty="0" err="1">
                <a:solidFill>
                  <a:prstClr val="white"/>
                </a:solidFill>
              </a:rPr>
              <a:t>Boliuso</a:t>
            </a:r>
            <a:r>
              <a:rPr lang="en-US" sz="1520" dirty="0">
                <a:solidFill>
                  <a:prstClr val="white"/>
                </a:solidFill>
              </a:rPr>
              <a:t> </a:t>
            </a:r>
            <a:r>
              <a:rPr lang="en-US" sz="1520" dirty="0" err="1">
                <a:solidFill>
                  <a:prstClr val="white"/>
                </a:solidFill>
              </a:rPr>
              <a:t>jutiklis</a:t>
            </a:r>
            <a:endParaRPr lang="en-US" sz="1520" dirty="0">
              <a:solidFill>
                <a:prstClr val="white"/>
              </a:solidFill>
            </a:endParaRPr>
          </a:p>
        </p:txBody>
      </p:sp>
      <p:sp>
        <p:nvSpPr>
          <p:cNvPr id="103" name="Content Placeholder 12"/>
          <p:cNvSpPr txBox="1">
            <a:spLocks/>
          </p:cNvSpPr>
          <p:nvPr/>
        </p:nvSpPr>
        <p:spPr bwMode="gray">
          <a:xfrm>
            <a:off x="367354" y="5558771"/>
            <a:ext cx="789057" cy="803945"/>
          </a:xfrm>
          <a:prstGeom prst="rect">
            <a:avLst/>
          </a:prstGeom>
          <a:solidFill>
            <a:schemeClr val="accent4"/>
          </a:solidFill>
        </p:spPr>
        <p:txBody>
          <a:bodyPr vert="horz" wrap="square" lIns="21387" tIns="46784" rIns="46784" bIns="46784" rtlCol="0" anchor="ctr" anchorCtr="0">
            <a:noAutofit/>
          </a:bodyPr>
          <a:lstStyle>
            <a:defPPr>
              <a:defRPr lang="en-US"/>
            </a:defPPr>
            <a:lvl1pPr indent="0">
              <a:spcBef>
                <a:spcPct val="20000"/>
              </a:spcBef>
              <a:buFontTx/>
              <a:buNone/>
              <a:defRPr sz="2000" b="1">
                <a:solidFill>
                  <a:schemeClr val="accent4"/>
                </a:solidFill>
              </a:defRPr>
            </a:lvl1pPr>
            <a:lvl2pPr marL="228600" indent="-228600">
              <a:spcBef>
                <a:spcPct val="20000"/>
              </a:spcBef>
              <a:buFont typeface="Wingdings" pitchFamily="2" charset="2"/>
              <a:buChar char="§"/>
              <a:defRPr sz="1600"/>
            </a:lvl2pPr>
            <a:lvl3pPr marL="457200" indent="-228600">
              <a:spcBef>
                <a:spcPct val="20000"/>
              </a:spcBef>
              <a:buFont typeface="Arial" pitchFamily="34" charset="0"/>
              <a:buChar char="–"/>
              <a:defRPr sz="1600"/>
            </a:lvl3pPr>
            <a:lvl4pPr marL="685800" indent="-228600">
              <a:spcBef>
                <a:spcPct val="20000"/>
              </a:spcBef>
              <a:buFont typeface="Arial" pitchFamily="34" charset="0"/>
              <a:buChar char="•"/>
              <a:defRPr sz="1600"/>
            </a:lvl4pPr>
            <a:lvl5pPr marL="914400" indent="-228600">
              <a:spcBef>
                <a:spcPct val="20000"/>
              </a:spcBef>
              <a:buFont typeface="Arial" pitchFamily="34" charset="0"/>
              <a:buChar char="»"/>
              <a:defRPr sz="16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defTabSz="802000">
              <a:defRPr/>
            </a:pPr>
            <a:r>
              <a:rPr lang="en-US" sz="1520" dirty="0" err="1">
                <a:solidFill>
                  <a:prstClr val="white"/>
                </a:solidFill>
              </a:rPr>
              <a:t>Klimato</a:t>
            </a:r>
            <a:r>
              <a:rPr lang="en-US" sz="1520" dirty="0">
                <a:solidFill>
                  <a:prstClr val="white"/>
                </a:solidFill>
              </a:rPr>
              <a:t> </a:t>
            </a:r>
            <a:r>
              <a:rPr lang="en-US" sz="1520" dirty="0" err="1">
                <a:solidFill>
                  <a:prstClr val="white"/>
                </a:solidFill>
              </a:rPr>
              <a:t>jutiklis</a:t>
            </a:r>
            <a:endParaRPr lang="en-US" sz="1520" dirty="0">
              <a:solidFill>
                <a:prstClr val="white"/>
              </a:solidFill>
            </a:endParaRPr>
          </a:p>
        </p:txBody>
      </p:sp>
      <p:cxnSp>
        <p:nvCxnSpPr>
          <p:cNvPr id="104" name="Straight Connector 21"/>
          <p:cNvCxnSpPr>
            <a:cxnSpLocks/>
          </p:cNvCxnSpPr>
          <p:nvPr>
            <p:custDataLst>
              <p:tags r:id="rId4"/>
            </p:custDataLst>
          </p:nvPr>
        </p:nvCxnSpPr>
        <p:spPr bwMode="gray">
          <a:xfrm>
            <a:off x="388863" y="5508980"/>
            <a:ext cx="789057" cy="0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6" name="Paveikslėlis 45">
            <a:extLst>
              <a:ext uri="{FF2B5EF4-FFF2-40B4-BE49-F238E27FC236}">
                <a16:creationId xmlns:a16="http://schemas.microsoft.com/office/drawing/2014/main" id="{E0F891DB-0461-F08C-5182-509DF8D03467}"/>
              </a:ext>
            </a:extLst>
          </p:cNvPr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8793" y="50734"/>
            <a:ext cx="1261473" cy="1261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498876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Box 30">
            <a:extLst>
              <a:ext uri="{FF2B5EF4-FFF2-40B4-BE49-F238E27FC236}">
                <a16:creationId xmlns:a16="http://schemas.microsoft.com/office/drawing/2014/main" id="{0505848B-9B21-54AC-E479-0CC46F078B5A}"/>
              </a:ext>
            </a:extLst>
          </p:cNvPr>
          <p:cNvSpPr txBox="1"/>
          <p:nvPr/>
        </p:nvSpPr>
        <p:spPr>
          <a:xfrm>
            <a:off x="927100" y="1342231"/>
            <a:ext cx="90678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lt-LT" sz="2400" dirty="0"/>
              <a:t>SKAITMENIZUOTŲ SISTEMŲ PRIVALUMAI IR NAUDA</a:t>
            </a:r>
            <a:endParaRPr lang="en-GB" sz="2400" dirty="0"/>
          </a:p>
        </p:txBody>
      </p:sp>
      <p:sp>
        <p:nvSpPr>
          <p:cNvPr id="32" name="Content Placeholder 12">
            <a:extLst>
              <a:ext uri="{FF2B5EF4-FFF2-40B4-BE49-F238E27FC236}">
                <a16:creationId xmlns:a16="http://schemas.microsoft.com/office/drawing/2014/main" id="{11BAC444-AAC0-9AA4-94A4-59C221DABFAD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 bwMode="gray">
          <a:xfrm>
            <a:off x="294294" y="2321861"/>
            <a:ext cx="4665993" cy="4227789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121920" tIns="121920" rIns="121920" bIns="121920" rtlCol="0" anchor="ctr" anchorCtr="0">
            <a:noAutofit/>
          </a:bodyPr>
          <a:lstStyle>
            <a:defPPr>
              <a:defRPr lang="en-US"/>
            </a:defPPr>
            <a:lvl1pPr indent="0">
              <a:spcBef>
                <a:spcPct val="20000"/>
              </a:spcBef>
              <a:buFontTx/>
              <a:buNone/>
              <a:defRPr sz="2000" b="1">
                <a:solidFill>
                  <a:schemeClr val="accent4"/>
                </a:solidFill>
              </a:defRPr>
            </a:lvl1pPr>
            <a:lvl2pPr marL="228600" indent="-228600">
              <a:spcBef>
                <a:spcPct val="20000"/>
              </a:spcBef>
              <a:buFont typeface="Wingdings" pitchFamily="2" charset="2"/>
              <a:buChar char="§"/>
              <a:defRPr sz="1600"/>
            </a:lvl2pPr>
            <a:lvl3pPr marL="457200" indent="-228600">
              <a:spcBef>
                <a:spcPct val="20000"/>
              </a:spcBef>
              <a:buFont typeface="Arial" pitchFamily="34" charset="0"/>
              <a:buChar char="–"/>
              <a:defRPr sz="1600"/>
            </a:lvl3pPr>
            <a:lvl4pPr marL="685800" indent="-228600">
              <a:spcBef>
                <a:spcPct val="20000"/>
              </a:spcBef>
              <a:buFont typeface="Arial" pitchFamily="34" charset="0"/>
              <a:buChar char="•"/>
              <a:defRPr sz="1600"/>
            </a:lvl4pPr>
            <a:lvl5pPr marL="914400" indent="-228600">
              <a:spcBef>
                <a:spcPct val="20000"/>
              </a:spcBef>
              <a:buFont typeface="Arial" pitchFamily="34" charset="0"/>
              <a:buChar char="»"/>
              <a:defRPr sz="16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endParaRPr lang="en-US" sz="2133" dirty="0">
              <a:solidFill>
                <a:schemeClr val="bg1"/>
              </a:solidFill>
            </a:endParaRPr>
          </a:p>
        </p:txBody>
      </p:sp>
      <p:sp>
        <p:nvSpPr>
          <p:cNvPr id="33" name="Rectangle 123">
            <a:extLst>
              <a:ext uri="{FF2B5EF4-FFF2-40B4-BE49-F238E27FC236}">
                <a16:creationId xmlns:a16="http://schemas.microsoft.com/office/drawing/2014/main" id="{3712122B-F7DB-B2FB-3B3D-EE12E4E3AF97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586357" y="1993630"/>
            <a:ext cx="810427" cy="656591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33" dirty="0">
              <a:solidFill>
                <a:schemeClr val="accent5"/>
              </a:solidFill>
            </a:endParaRPr>
          </a:p>
        </p:txBody>
      </p:sp>
      <p:sp>
        <p:nvSpPr>
          <p:cNvPr id="34" name="Content Placeholder 12">
            <a:extLst>
              <a:ext uri="{FF2B5EF4-FFF2-40B4-BE49-F238E27FC236}">
                <a16:creationId xmlns:a16="http://schemas.microsoft.com/office/drawing/2014/main" id="{E5BE4954-5ABE-4D6E-7AA2-21A78E82ACCD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1562907" y="1993630"/>
            <a:ext cx="3449359" cy="65646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r>
              <a:rPr lang="lt-LT" sz="2133" dirty="0"/>
              <a:t>Aktyvus bei išsamus sveikatos būklės stebėjimas</a:t>
            </a:r>
          </a:p>
        </p:txBody>
      </p:sp>
      <p:sp>
        <p:nvSpPr>
          <p:cNvPr id="35" name="Rectangle 123">
            <a:extLst>
              <a:ext uri="{FF2B5EF4-FFF2-40B4-BE49-F238E27FC236}">
                <a16:creationId xmlns:a16="http://schemas.microsoft.com/office/drawing/2014/main" id="{AEEA9726-A8B2-465D-FC49-FDFE32186084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>
          <a:xfrm>
            <a:off x="579403" y="2832518"/>
            <a:ext cx="810427" cy="656591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33" dirty="0">
              <a:solidFill>
                <a:schemeClr val="accent5"/>
              </a:solidFill>
            </a:endParaRPr>
          </a:p>
        </p:txBody>
      </p:sp>
      <p:sp>
        <p:nvSpPr>
          <p:cNvPr id="36" name="Content Placeholder 12">
            <a:extLst>
              <a:ext uri="{FF2B5EF4-FFF2-40B4-BE49-F238E27FC236}">
                <a16:creationId xmlns:a16="http://schemas.microsoft.com/office/drawing/2014/main" id="{BD6F20C7-886A-BEAB-ECEB-A6495808B0DB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1580615" y="2731507"/>
            <a:ext cx="3720617" cy="9233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r>
              <a:rPr lang="lt-LT" sz="2000" dirty="0"/>
              <a:t>Veršiavimosi stebėjimas, siekiant užkirsti kelią karvių bei veršelių praradimui</a:t>
            </a:r>
          </a:p>
        </p:txBody>
      </p:sp>
      <p:sp>
        <p:nvSpPr>
          <p:cNvPr id="37" name="Rectangle 123">
            <a:extLst>
              <a:ext uri="{FF2B5EF4-FFF2-40B4-BE49-F238E27FC236}">
                <a16:creationId xmlns:a16="http://schemas.microsoft.com/office/drawing/2014/main" id="{335740BF-92CC-CD66-2F1F-AF4974EBA745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>
          <a:xfrm>
            <a:off x="579403" y="3661399"/>
            <a:ext cx="810427" cy="656591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33" dirty="0">
              <a:solidFill>
                <a:schemeClr val="accent5"/>
              </a:solidFill>
            </a:endParaRPr>
          </a:p>
        </p:txBody>
      </p:sp>
      <p:sp>
        <p:nvSpPr>
          <p:cNvPr id="38" name="Content Placeholder 12">
            <a:extLst>
              <a:ext uri="{FF2B5EF4-FFF2-40B4-BE49-F238E27FC236}">
                <a16:creationId xmlns:a16="http://schemas.microsoft.com/office/drawing/2014/main" id="{BF1C410D-2B09-24F0-E62C-4B189AB61F94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1562907" y="3825547"/>
            <a:ext cx="3449359" cy="3282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r>
              <a:rPr lang="lt-LT" sz="2133" dirty="0"/>
              <a:t>Patikimas rujos nustatymas</a:t>
            </a:r>
            <a:endParaRPr lang="lt-LT" sz="2133" b="1" dirty="0">
              <a:solidFill>
                <a:srgbClr val="B1C800"/>
              </a:solidFill>
            </a:endParaRPr>
          </a:p>
        </p:txBody>
      </p:sp>
      <p:cxnSp>
        <p:nvCxnSpPr>
          <p:cNvPr id="39" name="Straight Connector 21">
            <a:extLst>
              <a:ext uri="{FF2B5EF4-FFF2-40B4-BE49-F238E27FC236}">
                <a16:creationId xmlns:a16="http://schemas.microsoft.com/office/drawing/2014/main" id="{AF9EC94C-CCDF-A33C-1CEA-9D17CACA1BE3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 bwMode="gray">
          <a:xfrm>
            <a:off x="586358" y="2736366"/>
            <a:ext cx="4425908" cy="10007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21">
            <a:extLst>
              <a:ext uri="{FF2B5EF4-FFF2-40B4-BE49-F238E27FC236}">
                <a16:creationId xmlns:a16="http://schemas.microsoft.com/office/drawing/2014/main" id="{EFC04770-182A-607A-7DC1-990145F24870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 bwMode="gray">
          <a:xfrm>
            <a:off x="586358" y="3575253"/>
            <a:ext cx="4425908" cy="0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21">
            <a:extLst>
              <a:ext uri="{FF2B5EF4-FFF2-40B4-BE49-F238E27FC236}">
                <a16:creationId xmlns:a16="http://schemas.microsoft.com/office/drawing/2014/main" id="{D963CCB2-9EC1-104B-6797-DBE4FE4D8CBE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 bwMode="gray">
          <a:xfrm>
            <a:off x="586358" y="4404135"/>
            <a:ext cx="4425908" cy="0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21">
            <a:extLst>
              <a:ext uri="{FF2B5EF4-FFF2-40B4-BE49-F238E27FC236}">
                <a16:creationId xmlns:a16="http://schemas.microsoft.com/office/drawing/2014/main" id="{1C30ED89-DCFB-52F0-28E3-3C9A19ACF270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 bwMode="gray">
          <a:xfrm>
            <a:off x="586358" y="5233016"/>
            <a:ext cx="4425908" cy="0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tangle 123">
            <a:extLst>
              <a:ext uri="{FF2B5EF4-FFF2-40B4-BE49-F238E27FC236}">
                <a16:creationId xmlns:a16="http://schemas.microsoft.com/office/drawing/2014/main" id="{99BE8023-2A3D-F944-C488-313A5BA07E36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>
          <a:xfrm>
            <a:off x="586357" y="4490281"/>
            <a:ext cx="810427" cy="656591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33" dirty="0">
              <a:solidFill>
                <a:schemeClr val="accent5"/>
              </a:solidFill>
            </a:endParaRPr>
          </a:p>
        </p:txBody>
      </p:sp>
      <p:sp>
        <p:nvSpPr>
          <p:cNvPr id="44" name="Content Placeholder 12">
            <a:extLst>
              <a:ext uri="{FF2B5EF4-FFF2-40B4-BE49-F238E27FC236}">
                <a16:creationId xmlns:a16="http://schemas.microsoft.com/office/drawing/2014/main" id="{6BC5E223-EF49-72C8-3619-0801A62B76B4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gray">
          <a:xfrm>
            <a:off x="1562907" y="4490281"/>
            <a:ext cx="3449359" cy="65646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r>
              <a:rPr lang="lt-LT" sz="2133" dirty="0"/>
              <a:t>Pašaro bei vandens suvartojimo stebėjimas</a:t>
            </a:r>
          </a:p>
        </p:txBody>
      </p:sp>
      <p:sp>
        <p:nvSpPr>
          <p:cNvPr id="45" name="Rectangle 123">
            <a:extLst>
              <a:ext uri="{FF2B5EF4-FFF2-40B4-BE49-F238E27FC236}">
                <a16:creationId xmlns:a16="http://schemas.microsoft.com/office/drawing/2014/main" id="{9118D5A1-2CA3-CB13-0377-9D1E1639A6A5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>
          <a:xfrm>
            <a:off x="579403" y="5319158"/>
            <a:ext cx="810427" cy="656591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33" dirty="0">
              <a:solidFill>
                <a:schemeClr val="accent5"/>
              </a:solidFill>
            </a:endParaRPr>
          </a:p>
        </p:txBody>
      </p:sp>
      <p:sp>
        <p:nvSpPr>
          <p:cNvPr id="46" name="Content Placeholder 12">
            <a:extLst>
              <a:ext uri="{FF2B5EF4-FFF2-40B4-BE49-F238E27FC236}">
                <a16:creationId xmlns:a16="http://schemas.microsoft.com/office/drawing/2014/main" id="{EBD7461A-D76B-3A56-3605-67E57316050E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1562907" y="5319158"/>
            <a:ext cx="3449359" cy="9233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r>
              <a:rPr lang="lt-LT" sz="2000" dirty="0"/>
              <a:t>Prieskrandžių būklės stebėjimas, siekiant padidinti šėrimo efektyvumą</a:t>
            </a:r>
          </a:p>
        </p:txBody>
      </p:sp>
      <p:pic>
        <p:nvPicPr>
          <p:cNvPr id="47" name="Picture 172">
            <a:extLst>
              <a:ext uri="{FF2B5EF4-FFF2-40B4-BE49-F238E27FC236}">
                <a16:creationId xmlns:a16="http://schemas.microsoft.com/office/drawing/2014/main" id="{A6D95DB3-A7A1-53DA-71F2-A96BD548E36F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282" y="5392247"/>
            <a:ext cx="610669" cy="510411"/>
          </a:xfrm>
          <a:prstGeom prst="rect">
            <a:avLst/>
          </a:prstGeom>
        </p:spPr>
      </p:pic>
      <p:sp>
        <p:nvSpPr>
          <p:cNvPr id="48" name="Freeform 51">
            <a:extLst>
              <a:ext uri="{FF2B5EF4-FFF2-40B4-BE49-F238E27FC236}">
                <a16:creationId xmlns:a16="http://schemas.microsoft.com/office/drawing/2014/main" id="{C9937150-715A-C8AC-5ACC-9D14BD7CB441}"/>
              </a:ext>
            </a:extLst>
          </p:cNvPr>
          <p:cNvSpPr>
            <a:spLocks/>
          </p:cNvSpPr>
          <p:nvPr/>
        </p:nvSpPr>
        <p:spPr bwMode="auto">
          <a:xfrm>
            <a:off x="698011" y="2076562"/>
            <a:ext cx="587120" cy="490725"/>
          </a:xfrm>
          <a:custGeom>
            <a:avLst/>
            <a:gdLst>
              <a:gd name="T0" fmla="*/ 18 w 1086"/>
              <a:gd name="T1" fmla="*/ 397 h 980"/>
              <a:gd name="T2" fmla="*/ 18 w 1086"/>
              <a:gd name="T3" fmla="*/ 269 h 980"/>
              <a:gd name="T4" fmla="*/ 510 w 1086"/>
              <a:gd name="T5" fmla="*/ 184 h 980"/>
              <a:gd name="T6" fmla="*/ 537 w 1086"/>
              <a:gd name="T7" fmla="*/ 202 h 980"/>
              <a:gd name="T8" fmla="*/ 577 w 1086"/>
              <a:gd name="T9" fmla="*/ 177 h 980"/>
              <a:gd name="T10" fmla="*/ 870 w 1086"/>
              <a:gd name="T11" fmla="*/ 81 h 980"/>
              <a:gd name="T12" fmla="*/ 1065 w 1086"/>
              <a:gd name="T13" fmla="*/ 277 h 980"/>
              <a:gd name="T14" fmla="*/ 1011 w 1086"/>
              <a:gd name="T15" fmla="*/ 551 h 980"/>
              <a:gd name="T16" fmla="*/ 876 w 1086"/>
              <a:gd name="T17" fmla="*/ 564 h 980"/>
              <a:gd name="T18" fmla="*/ 827 w 1086"/>
              <a:gd name="T19" fmla="*/ 572 h 980"/>
              <a:gd name="T20" fmla="*/ 750 w 1086"/>
              <a:gd name="T21" fmla="*/ 648 h 980"/>
              <a:gd name="T22" fmla="*/ 725 w 1086"/>
              <a:gd name="T23" fmla="*/ 669 h 980"/>
              <a:gd name="T24" fmla="*/ 699 w 1086"/>
              <a:gd name="T25" fmla="*/ 692 h 980"/>
              <a:gd name="T26" fmla="*/ 685 w 1086"/>
              <a:gd name="T27" fmla="*/ 656 h 980"/>
              <a:gd name="T28" fmla="*/ 671 w 1086"/>
              <a:gd name="T29" fmla="*/ 453 h 980"/>
              <a:gd name="T30" fmla="*/ 643 w 1086"/>
              <a:gd name="T31" fmla="*/ 358 h 980"/>
              <a:gd name="T32" fmla="*/ 590 w 1086"/>
              <a:gd name="T33" fmla="*/ 603 h 980"/>
              <a:gd name="T34" fmla="*/ 514 w 1086"/>
              <a:gd name="T35" fmla="*/ 591 h 980"/>
              <a:gd name="T36" fmla="*/ 481 w 1086"/>
              <a:gd name="T37" fmla="*/ 599 h 980"/>
              <a:gd name="T38" fmla="*/ 448 w 1086"/>
              <a:gd name="T39" fmla="*/ 609 h 980"/>
              <a:gd name="T40" fmla="*/ 483 w 1086"/>
              <a:gd name="T41" fmla="*/ 628 h 980"/>
              <a:gd name="T42" fmla="*/ 522 w 1086"/>
              <a:gd name="T43" fmla="*/ 620 h 980"/>
              <a:gd name="T44" fmla="*/ 572 w 1086"/>
              <a:gd name="T45" fmla="*/ 633 h 980"/>
              <a:gd name="T46" fmla="*/ 598 w 1086"/>
              <a:gd name="T47" fmla="*/ 659 h 980"/>
              <a:gd name="T48" fmla="*/ 616 w 1086"/>
              <a:gd name="T49" fmla="*/ 626 h 980"/>
              <a:gd name="T50" fmla="*/ 643 w 1086"/>
              <a:gd name="T51" fmla="*/ 471 h 980"/>
              <a:gd name="T52" fmla="*/ 661 w 1086"/>
              <a:gd name="T53" fmla="*/ 524 h 980"/>
              <a:gd name="T54" fmla="*/ 680 w 1086"/>
              <a:gd name="T55" fmla="*/ 733 h 980"/>
              <a:gd name="T56" fmla="*/ 702 w 1086"/>
              <a:gd name="T57" fmla="*/ 769 h 980"/>
              <a:gd name="T58" fmla="*/ 729 w 1086"/>
              <a:gd name="T59" fmla="*/ 736 h 980"/>
              <a:gd name="T60" fmla="*/ 790 w 1086"/>
              <a:gd name="T61" fmla="*/ 675 h 980"/>
              <a:gd name="T62" fmla="*/ 817 w 1086"/>
              <a:gd name="T63" fmla="*/ 655 h 980"/>
              <a:gd name="T64" fmla="*/ 903 w 1086"/>
              <a:gd name="T65" fmla="*/ 628 h 980"/>
              <a:gd name="T66" fmla="*/ 920 w 1086"/>
              <a:gd name="T67" fmla="*/ 630 h 980"/>
              <a:gd name="T68" fmla="*/ 938 w 1086"/>
              <a:gd name="T69" fmla="*/ 675 h 980"/>
              <a:gd name="T70" fmla="*/ 583 w 1086"/>
              <a:gd name="T71" fmla="*/ 964 h 980"/>
              <a:gd name="T72" fmla="*/ 512 w 1086"/>
              <a:gd name="T73" fmla="*/ 966 h 980"/>
              <a:gd name="T74" fmla="*/ 18 w 1086"/>
              <a:gd name="T75" fmla="*/ 397 h 9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1086" h="980">
                <a:moveTo>
                  <a:pt x="18" y="397"/>
                </a:moveTo>
                <a:cubicBezTo>
                  <a:pt x="0" y="344"/>
                  <a:pt x="10" y="307"/>
                  <a:pt x="18" y="269"/>
                </a:cubicBezTo>
                <a:cubicBezTo>
                  <a:pt x="132" y="36"/>
                  <a:pt x="333" y="0"/>
                  <a:pt x="510" y="184"/>
                </a:cubicBezTo>
                <a:cubicBezTo>
                  <a:pt x="521" y="195"/>
                  <a:pt x="529" y="201"/>
                  <a:pt x="537" y="202"/>
                </a:cubicBezTo>
                <a:cubicBezTo>
                  <a:pt x="550" y="205"/>
                  <a:pt x="561" y="193"/>
                  <a:pt x="577" y="177"/>
                </a:cubicBezTo>
                <a:cubicBezTo>
                  <a:pt x="657" y="94"/>
                  <a:pt x="752" y="48"/>
                  <a:pt x="870" y="81"/>
                </a:cubicBezTo>
                <a:cubicBezTo>
                  <a:pt x="971" y="109"/>
                  <a:pt x="1042" y="171"/>
                  <a:pt x="1065" y="277"/>
                </a:cubicBezTo>
                <a:cubicBezTo>
                  <a:pt x="1086" y="375"/>
                  <a:pt x="1056" y="465"/>
                  <a:pt x="1011" y="551"/>
                </a:cubicBezTo>
                <a:cubicBezTo>
                  <a:pt x="980" y="609"/>
                  <a:pt x="915" y="616"/>
                  <a:pt x="876" y="564"/>
                </a:cubicBezTo>
                <a:cubicBezTo>
                  <a:pt x="849" y="528"/>
                  <a:pt x="837" y="541"/>
                  <a:pt x="827" y="572"/>
                </a:cubicBezTo>
                <a:cubicBezTo>
                  <a:pt x="814" y="611"/>
                  <a:pt x="799" y="644"/>
                  <a:pt x="750" y="648"/>
                </a:cubicBezTo>
                <a:cubicBezTo>
                  <a:pt x="741" y="648"/>
                  <a:pt x="733" y="661"/>
                  <a:pt x="725" y="669"/>
                </a:cubicBezTo>
                <a:cubicBezTo>
                  <a:pt x="717" y="678"/>
                  <a:pt x="718" y="700"/>
                  <a:pt x="699" y="692"/>
                </a:cubicBezTo>
                <a:cubicBezTo>
                  <a:pt x="685" y="687"/>
                  <a:pt x="686" y="669"/>
                  <a:pt x="685" y="656"/>
                </a:cubicBezTo>
                <a:cubicBezTo>
                  <a:pt x="680" y="588"/>
                  <a:pt x="676" y="521"/>
                  <a:pt x="671" y="453"/>
                </a:cubicBezTo>
                <a:cubicBezTo>
                  <a:pt x="669" y="423"/>
                  <a:pt x="670" y="392"/>
                  <a:pt x="643" y="358"/>
                </a:cubicBezTo>
                <a:cubicBezTo>
                  <a:pt x="614" y="441"/>
                  <a:pt x="625" y="524"/>
                  <a:pt x="590" y="603"/>
                </a:cubicBezTo>
                <a:cubicBezTo>
                  <a:pt x="565" y="565"/>
                  <a:pt x="541" y="549"/>
                  <a:pt x="514" y="591"/>
                </a:cubicBezTo>
                <a:cubicBezTo>
                  <a:pt x="507" y="601"/>
                  <a:pt x="494" y="600"/>
                  <a:pt x="481" y="599"/>
                </a:cubicBezTo>
                <a:cubicBezTo>
                  <a:pt x="469" y="598"/>
                  <a:pt x="450" y="589"/>
                  <a:pt x="448" y="609"/>
                </a:cubicBezTo>
                <a:cubicBezTo>
                  <a:pt x="447" y="631"/>
                  <a:pt x="468" y="629"/>
                  <a:pt x="483" y="628"/>
                </a:cubicBezTo>
                <a:cubicBezTo>
                  <a:pt x="497" y="627"/>
                  <a:pt x="512" y="626"/>
                  <a:pt x="522" y="620"/>
                </a:cubicBezTo>
                <a:cubicBezTo>
                  <a:pt x="545" y="605"/>
                  <a:pt x="561" y="605"/>
                  <a:pt x="572" y="633"/>
                </a:cubicBezTo>
                <a:cubicBezTo>
                  <a:pt x="577" y="644"/>
                  <a:pt x="580" y="662"/>
                  <a:pt x="598" y="659"/>
                </a:cubicBezTo>
                <a:cubicBezTo>
                  <a:pt x="615" y="657"/>
                  <a:pt x="614" y="639"/>
                  <a:pt x="616" y="626"/>
                </a:cubicBezTo>
                <a:cubicBezTo>
                  <a:pt x="626" y="576"/>
                  <a:pt x="634" y="526"/>
                  <a:pt x="643" y="471"/>
                </a:cubicBezTo>
                <a:cubicBezTo>
                  <a:pt x="667" y="489"/>
                  <a:pt x="660" y="508"/>
                  <a:pt x="661" y="524"/>
                </a:cubicBezTo>
                <a:cubicBezTo>
                  <a:pt x="668" y="594"/>
                  <a:pt x="673" y="663"/>
                  <a:pt x="680" y="733"/>
                </a:cubicBezTo>
                <a:cubicBezTo>
                  <a:pt x="681" y="747"/>
                  <a:pt x="682" y="768"/>
                  <a:pt x="702" y="769"/>
                </a:cubicBezTo>
                <a:cubicBezTo>
                  <a:pt x="722" y="770"/>
                  <a:pt x="725" y="750"/>
                  <a:pt x="729" y="736"/>
                </a:cubicBezTo>
                <a:cubicBezTo>
                  <a:pt x="737" y="702"/>
                  <a:pt x="754" y="680"/>
                  <a:pt x="790" y="675"/>
                </a:cubicBezTo>
                <a:cubicBezTo>
                  <a:pt x="800" y="673"/>
                  <a:pt x="815" y="664"/>
                  <a:pt x="817" y="655"/>
                </a:cubicBezTo>
                <a:cubicBezTo>
                  <a:pt x="834" y="605"/>
                  <a:pt x="858" y="588"/>
                  <a:pt x="903" y="628"/>
                </a:cubicBezTo>
                <a:cubicBezTo>
                  <a:pt x="907" y="631"/>
                  <a:pt x="915" y="630"/>
                  <a:pt x="920" y="630"/>
                </a:cubicBezTo>
                <a:cubicBezTo>
                  <a:pt x="955" y="634"/>
                  <a:pt x="962" y="649"/>
                  <a:pt x="938" y="675"/>
                </a:cubicBezTo>
                <a:cubicBezTo>
                  <a:pt x="833" y="788"/>
                  <a:pt x="720" y="891"/>
                  <a:pt x="583" y="964"/>
                </a:cubicBezTo>
                <a:cubicBezTo>
                  <a:pt x="558" y="977"/>
                  <a:pt x="536" y="980"/>
                  <a:pt x="512" y="966"/>
                </a:cubicBezTo>
                <a:cubicBezTo>
                  <a:pt x="285" y="830"/>
                  <a:pt x="87" y="670"/>
                  <a:pt x="18" y="397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 dirty="0"/>
          </a:p>
        </p:txBody>
      </p:sp>
      <p:grpSp>
        <p:nvGrpSpPr>
          <p:cNvPr id="49" name="Group 75">
            <a:extLst>
              <a:ext uri="{FF2B5EF4-FFF2-40B4-BE49-F238E27FC236}">
                <a16:creationId xmlns:a16="http://schemas.microsoft.com/office/drawing/2014/main" id="{026F36AE-2228-F0FE-08A6-EBF82B0E0328}"/>
              </a:ext>
            </a:extLst>
          </p:cNvPr>
          <p:cNvGrpSpPr>
            <a:grpSpLocks/>
          </p:cNvGrpSpPr>
          <p:nvPr/>
        </p:nvGrpSpPr>
        <p:grpSpPr>
          <a:xfrm>
            <a:off x="659663" y="3718091"/>
            <a:ext cx="649907" cy="543205"/>
            <a:chOff x="1262357" y="2588888"/>
            <a:chExt cx="976270" cy="687429"/>
          </a:xfrm>
          <a:solidFill>
            <a:schemeClr val="accent4"/>
          </a:solidFill>
        </p:grpSpPr>
        <p:sp>
          <p:nvSpPr>
            <p:cNvPr id="50" name="Freeform 52">
              <a:extLst>
                <a:ext uri="{FF2B5EF4-FFF2-40B4-BE49-F238E27FC236}">
                  <a16:creationId xmlns:a16="http://schemas.microsoft.com/office/drawing/2014/main" id="{CDB177CE-0F1F-998E-E1DE-55A63E5EB5F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2357" y="2771802"/>
              <a:ext cx="956067" cy="504515"/>
            </a:xfrm>
            <a:custGeom>
              <a:avLst/>
              <a:gdLst>
                <a:gd name="T0" fmla="*/ 428 w 1025"/>
                <a:gd name="T1" fmla="*/ 190 h 541"/>
                <a:gd name="T2" fmla="*/ 353 w 1025"/>
                <a:gd name="T3" fmla="*/ 177 h 541"/>
                <a:gd name="T4" fmla="*/ 281 w 1025"/>
                <a:gd name="T5" fmla="*/ 176 h 541"/>
                <a:gd name="T6" fmla="*/ 269 w 1025"/>
                <a:gd name="T7" fmla="*/ 133 h 541"/>
                <a:gd name="T8" fmla="*/ 321 w 1025"/>
                <a:gd name="T9" fmla="*/ 72 h 541"/>
                <a:gd name="T10" fmla="*/ 337 w 1025"/>
                <a:gd name="T11" fmla="*/ 26 h 541"/>
                <a:gd name="T12" fmla="*/ 345 w 1025"/>
                <a:gd name="T13" fmla="*/ 6 h 541"/>
                <a:gd name="T14" fmla="*/ 363 w 1025"/>
                <a:gd name="T15" fmla="*/ 15 h 541"/>
                <a:gd name="T16" fmla="*/ 371 w 1025"/>
                <a:gd name="T17" fmla="*/ 23 h 541"/>
                <a:gd name="T18" fmla="*/ 516 w 1025"/>
                <a:gd name="T19" fmla="*/ 40 h 541"/>
                <a:gd name="T20" fmla="*/ 673 w 1025"/>
                <a:gd name="T21" fmla="*/ 71 h 541"/>
                <a:gd name="T22" fmla="*/ 880 w 1025"/>
                <a:gd name="T23" fmla="*/ 165 h 541"/>
                <a:gd name="T24" fmla="*/ 945 w 1025"/>
                <a:gd name="T25" fmla="*/ 196 h 541"/>
                <a:gd name="T26" fmla="*/ 977 w 1025"/>
                <a:gd name="T27" fmla="*/ 247 h 541"/>
                <a:gd name="T28" fmla="*/ 1008 w 1025"/>
                <a:gd name="T29" fmla="*/ 349 h 541"/>
                <a:gd name="T30" fmla="*/ 1007 w 1025"/>
                <a:gd name="T31" fmla="*/ 395 h 541"/>
                <a:gd name="T32" fmla="*/ 969 w 1025"/>
                <a:gd name="T33" fmla="*/ 372 h 541"/>
                <a:gd name="T34" fmla="*/ 951 w 1025"/>
                <a:gd name="T35" fmla="*/ 307 h 541"/>
                <a:gd name="T36" fmla="*/ 938 w 1025"/>
                <a:gd name="T37" fmla="*/ 246 h 541"/>
                <a:gd name="T38" fmla="*/ 938 w 1025"/>
                <a:gd name="T39" fmla="*/ 498 h 541"/>
                <a:gd name="T40" fmla="*/ 922 w 1025"/>
                <a:gd name="T41" fmla="*/ 537 h 541"/>
                <a:gd name="T42" fmla="*/ 891 w 1025"/>
                <a:gd name="T43" fmla="*/ 506 h 541"/>
                <a:gd name="T44" fmla="*/ 813 w 1025"/>
                <a:gd name="T45" fmla="*/ 414 h 541"/>
                <a:gd name="T46" fmla="*/ 770 w 1025"/>
                <a:gd name="T47" fmla="*/ 379 h 541"/>
                <a:gd name="T48" fmla="*/ 733 w 1025"/>
                <a:gd name="T49" fmla="*/ 342 h 541"/>
                <a:gd name="T50" fmla="*/ 667 w 1025"/>
                <a:gd name="T51" fmla="*/ 320 h 541"/>
                <a:gd name="T52" fmla="*/ 658 w 1025"/>
                <a:gd name="T53" fmla="*/ 375 h 541"/>
                <a:gd name="T54" fmla="*/ 657 w 1025"/>
                <a:gd name="T55" fmla="*/ 507 h 541"/>
                <a:gd name="T56" fmla="*/ 644 w 1025"/>
                <a:gd name="T57" fmla="*/ 537 h 541"/>
                <a:gd name="T58" fmla="*/ 615 w 1025"/>
                <a:gd name="T59" fmla="*/ 516 h 541"/>
                <a:gd name="T60" fmla="*/ 358 w 1025"/>
                <a:gd name="T61" fmla="*/ 417 h 541"/>
                <a:gd name="T62" fmla="*/ 336 w 1025"/>
                <a:gd name="T63" fmla="*/ 450 h 541"/>
                <a:gd name="T64" fmla="*/ 335 w 1025"/>
                <a:gd name="T65" fmla="*/ 519 h 541"/>
                <a:gd name="T66" fmla="*/ 319 w 1025"/>
                <a:gd name="T67" fmla="*/ 538 h 541"/>
                <a:gd name="T68" fmla="*/ 301 w 1025"/>
                <a:gd name="T69" fmla="*/ 525 h 541"/>
                <a:gd name="T70" fmla="*/ 275 w 1025"/>
                <a:gd name="T71" fmla="*/ 454 h 541"/>
                <a:gd name="T72" fmla="*/ 152 w 1025"/>
                <a:gd name="T73" fmla="*/ 308 h 541"/>
                <a:gd name="T74" fmla="*/ 86 w 1025"/>
                <a:gd name="T75" fmla="*/ 290 h 541"/>
                <a:gd name="T76" fmla="*/ 42 w 1025"/>
                <a:gd name="T77" fmla="*/ 291 h 541"/>
                <a:gd name="T78" fmla="*/ 23 w 1025"/>
                <a:gd name="T79" fmla="*/ 236 h 541"/>
                <a:gd name="T80" fmla="*/ 78 w 1025"/>
                <a:gd name="T81" fmla="*/ 137 h 541"/>
                <a:gd name="T82" fmla="*/ 95 w 1025"/>
                <a:gd name="T83" fmla="*/ 126 h 541"/>
                <a:gd name="T84" fmla="*/ 146 w 1025"/>
                <a:gd name="T85" fmla="*/ 135 h 541"/>
                <a:gd name="T86" fmla="*/ 168 w 1025"/>
                <a:gd name="T87" fmla="*/ 144 h 541"/>
                <a:gd name="T88" fmla="*/ 206 w 1025"/>
                <a:gd name="T89" fmla="*/ 179 h 541"/>
                <a:gd name="T90" fmla="*/ 428 w 1025"/>
                <a:gd name="T91" fmla="*/ 190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025" h="541">
                  <a:moveTo>
                    <a:pt x="428" y="190"/>
                  </a:moveTo>
                  <a:cubicBezTo>
                    <a:pt x="405" y="168"/>
                    <a:pt x="379" y="172"/>
                    <a:pt x="353" y="177"/>
                  </a:cubicBezTo>
                  <a:cubicBezTo>
                    <a:pt x="329" y="181"/>
                    <a:pt x="305" y="185"/>
                    <a:pt x="281" y="176"/>
                  </a:cubicBezTo>
                  <a:cubicBezTo>
                    <a:pt x="259" y="168"/>
                    <a:pt x="252" y="154"/>
                    <a:pt x="269" y="133"/>
                  </a:cubicBezTo>
                  <a:cubicBezTo>
                    <a:pt x="286" y="113"/>
                    <a:pt x="305" y="93"/>
                    <a:pt x="321" y="72"/>
                  </a:cubicBezTo>
                  <a:cubicBezTo>
                    <a:pt x="331" y="59"/>
                    <a:pt x="346" y="47"/>
                    <a:pt x="337" y="26"/>
                  </a:cubicBezTo>
                  <a:cubicBezTo>
                    <a:pt x="333" y="18"/>
                    <a:pt x="337" y="10"/>
                    <a:pt x="345" y="6"/>
                  </a:cubicBezTo>
                  <a:cubicBezTo>
                    <a:pt x="355" y="0"/>
                    <a:pt x="358" y="8"/>
                    <a:pt x="363" y="15"/>
                  </a:cubicBezTo>
                  <a:cubicBezTo>
                    <a:pt x="365" y="18"/>
                    <a:pt x="370" y="23"/>
                    <a:pt x="371" y="23"/>
                  </a:cubicBezTo>
                  <a:cubicBezTo>
                    <a:pt x="422" y="0"/>
                    <a:pt x="461" y="66"/>
                    <a:pt x="516" y="40"/>
                  </a:cubicBezTo>
                  <a:cubicBezTo>
                    <a:pt x="572" y="13"/>
                    <a:pt x="625" y="35"/>
                    <a:pt x="673" y="71"/>
                  </a:cubicBezTo>
                  <a:cubicBezTo>
                    <a:pt x="734" y="118"/>
                    <a:pt x="811" y="133"/>
                    <a:pt x="880" y="165"/>
                  </a:cubicBezTo>
                  <a:cubicBezTo>
                    <a:pt x="902" y="175"/>
                    <a:pt x="924" y="186"/>
                    <a:pt x="945" y="196"/>
                  </a:cubicBezTo>
                  <a:cubicBezTo>
                    <a:pt x="966" y="207"/>
                    <a:pt x="979" y="224"/>
                    <a:pt x="977" y="247"/>
                  </a:cubicBezTo>
                  <a:cubicBezTo>
                    <a:pt x="974" y="286"/>
                    <a:pt x="987" y="318"/>
                    <a:pt x="1008" y="349"/>
                  </a:cubicBezTo>
                  <a:cubicBezTo>
                    <a:pt x="1019" y="364"/>
                    <a:pt x="1025" y="384"/>
                    <a:pt x="1007" y="395"/>
                  </a:cubicBezTo>
                  <a:cubicBezTo>
                    <a:pt x="986" y="408"/>
                    <a:pt x="977" y="388"/>
                    <a:pt x="969" y="372"/>
                  </a:cubicBezTo>
                  <a:cubicBezTo>
                    <a:pt x="957" y="352"/>
                    <a:pt x="951" y="331"/>
                    <a:pt x="951" y="307"/>
                  </a:cubicBezTo>
                  <a:cubicBezTo>
                    <a:pt x="952" y="286"/>
                    <a:pt x="950" y="265"/>
                    <a:pt x="938" y="246"/>
                  </a:cubicBezTo>
                  <a:cubicBezTo>
                    <a:pt x="938" y="330"/>
                    <a:pt x="939" y="414"/>
                    <a:pt x="938" y="498"/>
                  </a:cubicBezTo>
                  <a:cubicBezTo>
                    <a:pt x="938" y="513"/>
                    <a:pt x="945" y="534"/>
                    <a:pt x="922" y="537"/>
                  </a:cubicBezTo>
                  <a:cubicBezTo>
                    <a:pt x="901" y="540"/>
                    <a:pt x="897" y="521"/>
                    <a:pt x="891" y="506"/>
                  </a:cubicBezTo>
                  <a:cubicBezTo>
                    <a:pt x="877" y="466"/>
                    <a:pt x="853" y="434"/>
                    <a:pt x="813" y="414"/>
                  </a:cubicBezTo>
                  <a:cubicBezTo>
                    <a:pt x="797" y="406"/>
                    <a:pt x="784" y="391"/>
                    <a:pt x="770" y="379"/>
                  </a:cubicBezTo>
                  <a:cubicBezTo>
                    <a:pt x="757" y="367"/>
                    <a:pt x="747" y="352"/>
                    <a:pt x="733" y="342"/>
                  </a:cubicBezTo>
                  <a:cubicBezTo>
                    <a:pt x="714" y="327"/>
                    <a:pt x="689" y="313"/>
                    <a:pt x="667" y="320"/>
                  </a:cubicBezTo>
                  <a:cubicBezTo>
                    <a:pt x="646" y="328"/>
                    <a:pt x="658" y="356"/>
                    <a:pt x="658" y="375"/>
                  </a:cubicBezTo>
                  <a:cubicBezTo>
                    <a:pt x="656" y="419"/>
                    <a:pt x="657" y="463"/>
                    <a:pt x="657" y="507"/>
                  </a:cubicBezTo>
                  <a:cubicBezTo>
                    <a:pt x="657" y="519"/>
                    <a:pt x="659" y="534"/>
                    <a:pt x="644" y="537"/>
                  </a:cubicBezTo>
                  <a:cubicBezTo>
                    <a:pt x="628" y="541"/>
                    <a:pt x="619" y="530"/>
                    <a:pt x="615" y="516"/>
                  </a:cubicBezTo>
                  <a:cubicBezTo>
                    <a:pt x="576" y="390"/>
                    <a:pt x="455" y="395"/>
                    <a:pt x="358" y="417"/>
                  </a:cubicBezTo>
                  <a:cubicBezTo>
                    <a:pt x="341" y="421"/>
                    <a:pt x="336" y="434"/>
                    <a:pt x="336" y="450"/>
                  </a:cubicBezTo>
                  <a:cubicBezTo>
                    <a:pt x="336" y="473"/>
                    <a:pt x="336" y="496"/>
                    <a:pt x="335" y="519"/>
                  </a:cubicBezTo>
                  <a:cubicBezTo>
                    <a:pt x="335" y="529"/>
                    <a:pt x="331" y="537"/>
                    <a:pt x="319" y="538"/>
                  </a:cubicBezTo>
                  <a:cubicBezTo>
                    <a:pt x="310" y="539"/>
                    <a:pt x="304" y="533"/>
                    <a:pt x="301" y="525"/>
                  </a:cubicBezTo>
                  <a:cubicBezTo>
                    <a:pt x="293" y="502"/>
                    <a:pt x="285" y="477"/>
                    <a:pt x="275" y="454"/>
                  </a:cubicBezTo>
                  <a:cubicBezTo>
                    <a:pt x="249" y="393"/>
                    <a:pt x="199" y="352"/>
                    <a:pt x="152" y="308"/>
                  </a:cubicBezTo>
                  <a:cubicBezTo>
                    <a:pt x="134" y="291"/>
                    <a:pt x="112" y="284"/>
                    <a:pt x="86" y="290"/>
                  </a:cubicBezTo>
                  <a:cubicBezTo>
                    <a:pt x="72" y="293"/>
                    <a:pt x="56" y="293"/>
                    <a:pt x="42" y="291"/>
                  </a:cubicBezTo>
                  <a:cubicBezTo>
                    <a:pt x="5" y="283"/>
                    <a:pt x="0" y="265"/>
                    <a:pt x="23" y="236"/>
                  </a:cubicBezTo>
                  <a:cubicBezTo>
                    <a:pt x="47" y="207"/>
                    <a:pt x="79" y="182"/>
                    <a:pt x="78" y="137"/>
                  </a:cubicBezTo>
                  <a:cubicBezTo>
                    <a:pt x="78" y="128"/>
                    <a:pt x="89" y="115"/>
                    <a:pt x="95" y="126"/>
                  </a:cubicBezTo>
                  <a:cubicBezTo>
                    <a:pt x="110" y="151"/>
                    <a:pt x="127" y="142"/>
                    <a:pt x="146" y="135"/>
                  </a:cubicBezTo>
                  <a:cubicBezTo>
                    <a:pt x="155" y="132"/>
                    <a:pt x="170" y="135"/>
                    <a:pt x="168" y="144"/>
                  </a:cubicBezTo>
                  <a:cubicBezTo>
                    <a:pt x="159" y="181"/>
                    <a:pt x="189" y="173"/>
                    <a:pt x="206" y="179"/>
                  </a:cubicBezTo>
                  <a:cubicBezTo>
                    <a:pt x="278" y="202"/>
                    <a:pt x="353" y="197"/>
                    <a:pt x="428" y="19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51" name="Freeform 53">
              <a:extLst>
                <a:ext uri="{FF2B5EF4-FFF2-40B4-BE49-F238E27FC236}">
                  <a16:creationId xmlns:a16="http://schemas.microsoft.com/office/drawing/2014/main" id="{53E9CDC1-BAD8-81AB-873E-752F7C83CD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2486" y="2588888"/>
              <a:ext cx="316141" cy="205300"/>
            </a:xfrm>
            <a:custGeom>
              <a:avLst/>
              <a:gdLst>
                <a:gd name="T0" fmla="*/ 335 w 339"/>
                <a:gd name="T1" fmla="*/ 0 h 220"/>
                <a:gd name="T2" fmla="*/ 276 w 339"/>
                <a:gd name="T3" fmla="*/ 83 h 220"/>
                <a:gd name="T4" fmla="*/ 143 w 339"/>
                <a:gd name="T5" fmla="*/ 176 h 220"/>
                <a:gd name="T6" fmla="*/ 42 w 339"/>
                <a:gd name="T7" fmla="*/ 220 h 220"/>
                <a:gd name="T8" fmla="*/ 5 w 339"/>
                <a:gd name="T9" fmla="*/ 202 h 220"/>
                <a:gd name="T10" fmla="*/ 17 w 339"/>
                <a:gd name="T11" fmla="*/ 157 h 220"/>
                <a:gd name="T12" fmla="*/ 92 w 339"/>
                <a:gd name="T13" fmla="*/ 128 h 220"/>
                <a:gd name="T14" fmla="*/ 163 w 339"/>
                <a:gd name="T15" fmla="*/ 99 h 220"/>
                <a:gd name="T16" fmla="*/ 209 w 339"/>
                <a:gd name="T17" fmla="*/ 68 h 220"/>
                <a:gd name="T18" fmla="*/ 335 w 339"/>
                <a:gd name="T19" fmla="*/ 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9" h="220">
                  <a:moveTo>
                    <a:pt x="335" y="0"/>
                  </a:moveTo>
                  <a:cubicBezTo>
                    <a:pt x="339" y="48"/>
                    <a:pt x="321" y="76"/>
                    <a:pt x="276" y="83"/>
                  </a:cubicBezTo>
                  <a:cubicBezTo>
                    <a:pt x="214" y="93"/>
                    <a:pt x="174" y="128"/>
                    <a:pt x="143" y="176"/>
                  </a:cubicBezTo>
                  <a:cubicBezTo>
                    <a:pt x="119" y="215"/>
                    <a:pt x="82" y="220"/>
                    <a:pt x="42" y="220"/>
                  </a:cubicBezTo>
                  <a:cubicBezTo>
                    <a:pt x="28" y="220"/>
                    <a:pt x="11" y="219"/>
                    <a:pt x="5" y="202"/>
                  </a:cubicBezTo>
                  <a:cubicBezTo>
                    <a:pt x="0" y="185"/>
                    <a:pt x="5" y="169"/>
                    <a:pt x="17" y="157"/>
                  </a:cubicBezTo>
                  <a:cubicBezTo>
                    <a:pt x="37" y="136"/>
                    <a:pt x="63" y="125"/>
                    <a:pt x="92" y="128"/>
                  </a:cubicBezTo>
                  <a:cubicBezTo>
                    <a:pt x="122" y="131"/>
                    <a:pt x="144" y="121"/>
                    <a:pt x="163" y="99"/>
                  </a:cubicBezTo>
                  <a:cubicBezTo>
                    <a:pt x="175" y="84"/>
                    <a:pt x="189" y="70"/>
                    <a:pt x="209" y="68"/>
                  </a:cubicBezTo>
                  <a:cubicBezTo>
                    <a:pt x="257" y="61"/>
                    <a:pt x="303" y="51"/>
                    <a:pt x="33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52" name="Freeform 54">
              <a:extLst>
                <a:ext uri="{FF2B5EF4-FFF2-40B4-BE49-F238E27FC236}">
                  <a16:creationId xmlns:a16="http://schemas.microsoft.com/office/drawing/2014/main" id="{D4E71053-FA92-50A0-21FC-5312FAF9D3F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2142" y="3132716"/>
              <a:ext cx="84086" cy="142509"/>
            </a:xfrm>
            <a:custGeom>
              <a:avLst/>
              <a:gdLst>
                <a:gd name="T0" fmla="*/ 0 w 90"/>
                <a:gd name="T1" fmla="*/ 0 h 153"/>
                <a:gd name="T2" fmla="*/ 41 w 90"/>
                <a:gd name="T3" fmla="*/ 141 h 153"/>
                <a:gd name="T4" fmla="*/ 22 w 90"/>
                <a:gd name="T5" fmla="*/ 152 h 153"/>
                <a:gd name="T6" fmla="*/ 11 w 90"/>
                <a:gd name="T7" fmla="*/ 134 h 153"/>
                <a:gd name="T8" fmla="*/ 0 w 90"/>
                <a:gd name="T9" fmla="*/ 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153">
                  <a:moveTo>
                    <a:pt x="0" y="0"/>
                  </a:moveTo>
                  <a:cubicBezTo>
                    <a:pt x="74" y="28"/>
                    <a:pt x="90" y="84"/>
                    <a:pt x="41" y="141"/>
                  </a:cubicBezTo>
                  <a:cubicBezTo>
                    <a:pt x="36" y="147"/>
                    <a:pt x="31" y="153"/>
                    <a:pt x="22" y="152"/>
                  </a:cubicBezTo>
                  <a:cubicBezTo>
                    <a:pt x="12" y="150"/>
                    <a:pt x="10" y="142"/>
                    <a:pt x="11" y="134"/>
                  </a:cubicBezTo>
                  <a:cubicBezTo>
                    <a:pt x="18" y="88"/>
                    <a:pt x="5" y="45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53" name="Freeform 55">
              <a:extLst>
                <a:ext uri="{FF2B5EF4-FFF2-40B4-BE49-F238E27FC236}">
                  <a16:creationId xmlns:a16="http://schemas.microsoft.com/office/drawing/2014/main" id="{37BCB7C1-AD4E-847C-540C-BD9E0FD9EAA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2541" y="3136538"/>
              <a:ext cx="70982" cy="139779"/>
            </a:xfrm>
            <a:custGeom>
              <a:avLst/>
              <a:gdLst>
                <a:gd name="T0" fmla="*/ 8 w 76"/>
                <a:gd name="T1" fmla="*/ 0 h 150"/>
                <a:gd name="T2" fmla="*/ 49 w 76"/>
                <a:gd name="T3" fmla="*/ 127 h 150"/>
                <a:gd name="T4" fmla="*/ 21 w 76"/>
                <a:gd name="T5" fmla="*/ 148 h 150"/>
                <a:gd name="T6" fmla="*/ 11 w 76"/>
                <a:gd name="T7" fmla="*/ 118 h 150"/>
                <a:gd name="T8" fmla="*/ 9 w 76"/>
                <a:gd name="T9" fmla="*/ 58 h 150"/>
                <a:gd name="T10" fmla="*/ 8 w 76"/>
                <a:gd name="T11" fmla="*/ 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6" h="150">
                  <a:moveTo>
                    <a:pt x="8" y="0"/>
                  </a:moveTo>
                  <a:cubicBezTo>
                    <a:pt x="62" y="34"/>
                    <a:pt x="76" y="82"/>
                    <a:pt x="49" y="127"/>
                  </a:cubicBezTo>
                  <a:cubicBezTo>
                    <a:pt x="43" y="137"/>
                    <a:pt x="36" y="150"/>
                    <a:pt x="21" y="148"/>
                  </a:cubicBezTo>
                  <a:cubicBezTo>
                    <a:pt x="3" y="144"/>
                    <a:pt x="12" y="129"/>
                    <a:pt x="11" y="118"/>
                  </a:cubicBezTo>
                  <a:cubicBezTo>
                    <a:pt x="10" y="98"/>
                    <a:pt x="10" y="78"/>
                    <a:pt x="9" y="58"/>
                  </a:cubicBezTo>
                  <a:cubicBezTo>
                    <a:pt x="7" y="40"/>
                    <a:pt x="0" y="22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grpSp>
        <p:nvGrpSpPr>
          <p:cNvPr id="54" name="Group 80">
            <a:extLst>
              <a:ext uri="{FF2B5EF4-FFF2-40B4-BE49-F238E27FC236}">
                <a16:creationId xmlns:a16="http://schemas.microsoft.com/office/drawing/2014/main" id="{42CE71CE-FD61-A87F-2961-727EF6028860}"/>
              </a:ext>
            </a:extLst>
          </p:cNvPr>
          <p:cNvGrpSpPr>
            <a:grpSpLocks/>
          </p:cNvGrpSpPr>
          <p:nvPr/>
        </p:nvGrpSpPr>
        <p:grpSpPr>
          <a:xfrm>
            <a:off x="698011" y="4573212"/>
            <a:ext cx="587120" cy="490725"/>
            <a:chOff x="12993688" y="239713"/>
            <a:chExt cx="1822450" cy="1504951"/>
          </a:xfrm>
          <a:solidFill>
            <a:schemeClr val="accent4"/>
          </a:solidFill>
        </p:grpSpPr>
        <p:sp>
          <p:nvSpPr>
            <p:cNvPr id="55" name="Freeform 56">
              <a:extLst>
                <a:ext uri="{FF2B5EF4-FFF2-40B4-BE49-F238E27FC236}">
                  <a16:creationId xmlns:a16="http://schemas.microsoft.com/office/drawing/2014/main" id="{2C5FCF52-0EBB-DC78-2595-31CE3D57F43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57200" y="1268413"/>
              <a:ext cx="595313" cy="476250"/>
            </a:xfrm>
            <a:custGeom>
              <a:avLst/>
              <a:gdLst>
                <a:gd name="T0" fmla="*/ 0 w 375"/>
                <a:gd name="T1" fmla="*/ 0 h 300"/>
                <a:gd name="T2" fmla="*/ 0 w 375"/>
                <a:gd name="T3" fmla="*/ 224 h 300"/>
                <a:gd name="T4" fmla="*/ 336 w 375"/>
                <a:gd name="T5" fmla="*/ 300 h 300"/>
                <a:gd name="T6" fmla="*/ 375 w 375"/>
                <a:gd name="T7" fmla="*/ 97 h 300"/>
                <a:gd name="T8" fmla="*/ 0 w 375"/>
                <a:gd name="T9" fmla="*/ 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5" h="300">
                  <a:moveTo>
                    <a:pt x="0" y="0"/>
                  </a:moveTo>
                  <a:lnTo>
                    <a:pt x="0" y="224"/>
                  </a:lnTo>
                  <a:lnTo>
                    <a:pt x="336" y="300"/>
                  </a:lnTo>
                  <a:lnTo>
                    <a:pt x="375" y="97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56" name="Freeform 57">
              <a:extLst>
                <a:ext uri="{FF2B5EF4-FFF2-40B4-BE49-F238E27FC236}">
                  <a16:creationId xmlns:a16="http://schemas.microsoft.com/office/drawing/2014/main" id="{78307A36-6F67-DF75-FB55-C284F1EA265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33463" y="885826"/>
              <a:ext cx="1082675" cy="858838"/>
            </a:xfrm>
            <a:custGeom>
              <a:avLst/>
              <a:gdLst>
                <a:gd name="T0" fmla="*/ 45 w 682"/>
                <a:gd name="T1" fmla="*/ 352 h 541"/>
                <a:gd name="T2" fmla="*/ 0 w 682"/>
                <a:gd name="T3" fmla="*/ 541 h 541"/>
                <a:gd name="T4" fmla="*/ 660 w 682"/>
                <a:gd name="T5" fmla="*/ 164 h 541"/>
                <a:gd name="T6" fmla="*/ 682 w 682"/>
                <a:gd name="T7" fmla="*/ 0 h 541"/>
                <a:gd name="T8" fmla="*/ 45 w 682"/>
                <a:gd name="T9" fmla="*/ 352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82" h="541">
                  <a:moveTo>
                    <a:pt x="45" y="352"/>
                  </a:moveTo>
                  <a:lnTo>
                    <a:pt x="0" y="541"/>
                  </a:lnTo>
                  <a:lnTo>
                    <a:pt x="660" y="164"/>
                  </a:lnTo>
                  <a:lnTo>
                    <a:pt x="682" y="0"/>
                  </a:lnTo>
                  <a:lnTo>
                    <a:pt x="45" y="3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57" name="Freeform 58">
              <a:extLst>
                <a:ext uri="{FF2B5EF4-FFF2-40B4-BE49-F238E27FC236}">
                  <a16:creationId xmlns:a16="http://schemas.microsoft.com/office/drawing/2014/main" id="{68FDC485-2BCA-286E-B32F-C1DD9B3C421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57200" y="776288"/>
              <a:ext cx="1658938" cy="611188"/>
            </a:xfrm>
            <a:custGeom>
              <a:avLst/>
              <a:gdLst>
                <a:gd name="T0" fmla="*/ 0 w 612"/>
                <a:gd name="T1" fmla="*/ 168 h 225"/>
                <a:gd name="T2" fmla="*/ 247 w 612"/>
                <a:gd name="T3" fmla="*/ 225 h 225"/>
                <a:gd name="T4" fmla="*/ 612 w 612"/>
                <a:gd name="T5" fmla="*/ 29 h 225"/>
                <a:gd name="T6" fmla="*/ 384 w 612"/>
                <a:gd name="T7" fmla="*/ 0 h 225"/>
                <a:gd name="T8" fmla="*/ 372 w 612"/>
                <a:gd name="T9" fmla="*/ 0 h 225"/>
                <a:gd name="T10" fmla="*/ 365 w 612"/>
                <a:gd name="T11" fmla="*/ 113 h 225"/>
                <a:gd name="T12" fmla="*/ 247 w 612"/>
                <a:gd name="T13" fmla="*/ 100 h 225"/>
                <a:gd name="T14" fmla="*/ 208 w 612"/>
                <a:gd name="T15" fmla="*/ 65 h 225"/>
                <a:gd name="T16" fmla="*/ 8 w 612"/>
                <a:gd name="T17" fmla="*/ 139 h 225"/>
                <a:gd name="T18" fmla="*/ 0 w 612"/>
                <a:gd name="T19" fmla="*/ 168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12" h="225">
                  <a:moveTo>
                    <a:pt x="0" y="168"/>
                  </a:moveTo>
                  <a:cubicBezTo>
                    <a:pt x="247" y="225"/>
                    <a:pt x="247" y="225"/>
                    <a:pt x="247" y="225"/>
                  </a:cubicBezTo>
                  <a:cubicBezTo>
                    <a:pt x="612" y="29"/>
                    <a:pt x="612" y="29"/>
                    <a:pt x="612" y="29"/>
                  </a:cubicBezTo>
                  <a:cubicBezTo>
                    <a:pt x="384" y="0"/>
                    <a:pt x="384" y="0"/>
                    <a:pt x="384" y="0"/>
                  </a:cubicBezTo>
                  <a:cubicBezTo>
                    <a:pt x="372" y="0"/>
                    <a:pt x="372" y="0"/>
                    <a:pt x="372" y="0"/>
                  </a:cubicBezTo>
                  <a:cubicBezTo>
                    <a:pt x="372" y="0"/>
                    <a:pt x="391" y="90"/>
                    <a:pt x="365" y="113"/>
                  </a:cubicBezTo>
                  <a:cubicBezTo>
                    <a:pt x="340" y="135"/>
                    <a:pt x="263" y="111"/>
                    <a:pt x="247" y="100"/>
                  </a:cubicBezTo>
                  <a:cubicBezTo>
                    <a:pt x="231" y="89"/>
                    <a:pt x="208" y="65"/>
                    <a:pt x="208" y="65"/>
                  </a:cubicBezTo>
                  <a:cubicBezTo>
                    <a:pt x="8" y="139"/>
                    <a:pt x="8" y="139"/>
                    <a:pt x="8" y="139"/>
                  </a:cubicBezTo>
                  <a:lnTo>
                    <a:pt x="0" y="1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58" name="Freeform 59">
              <a:extLst>
                <a:ext uri="{FF2B5EF4-FFF2-40B4-BE49-F238E27FC236}">
                  <a16:creationId xmlns:a16="http://schemas.microsoft.com/office/drawing/2014/main" id="{DEBEDF89-55A8-731D-3F03-3BF6E76333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93688" y="239713"/>
              <a:ext cx="1343025" cy="1430338"/>
            </a:xfrm>
            <a:custGeom>
              <a:avLst/>
              <a:gdLst>
                <a:gd name="T0" fmla="*/ 0 w 846"/>
                <a:gd name="T1" fmla="*/ 901 h 901"/>
                <a:gd name="T2" fmla="*/ 0 w 846"/>
                <a:gd name="T3" fmla="*/ 190 h 901"/>
                <a:gd name="T4" fmla="*/ 846 w 846"/>
                <a:gd name="T5" fmla="*/ 0 h 901"/>
                <a:gd name="T6" fmla="*/ 846 w 846"/>
                <a:gd name="T7" fmla="*/ 309 h 901"/>
                <a:gd name="T8" fmla="*/ 801 w 846"/>
                <a:gd name="T9" fmla="*/ 309 h 901"/>
                <a:gd name="T10" fmla="*/ 801 w 846"/>
                <a:gd name="T11" fmla="*/ 39 h 901"/>
                <a:gd name="T12" fmla="*/ 62 w 846"/>
                <a:gd name="T13" fmla="*/ 207 h 901"/>
                <a:gd name="T14" fmla="*/ 56 w 846"/>
                <a:gd name="T15" fmla="*/ 877 h 901"/>
                <a:gd name="T16" fmla="*/ 0 w 846"/>
                <a:gd name="T17" fmla="*/ 901 h 9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46" h="901">
                  <a:moveTo>
                    <a:pt x="0" y="901"/>
                  </a:moveTo>
                  <a:lnTo>
                    <a:pt x="0" y="190"/>
                  </a:lnTo>
                  <a:lnTo>
                    <a:pt x="846" y="0"/>
                  </a:lnTo>
                  <a:lnTo>
                    <a:pt x="846" y="309"/>
                  </a:lnTo>
                  <a:lnTo>
                    <a:pt x="801" y="309"/>
                  </a:lnTo>
                  <a:lnTo>
                    <a:pt x="801" y="39"/>
                  </a:lnTo>
                  <a:lnTo>
                    <a:pt x="62" y="207"/>
                  </a:lnTo>
                  <a:lnTo>
                    <a:pt x="56" y="877"/>
                  </a:lnTo>
                  <a:lnTo>
                    <a:pt x="0" y="9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59" name="Freeform 60">
              <a:extLst>
                <a:ext uri="{FF2B5EF4-FFF2-40B4-BE49-F238E27FC236}">
                  <a16:creationId xmlns:a16="http://schemas.microsoft.com/office/drawing/2014/main" id="{4DCF5B89-9822-10FD-3627-63FEA1A688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57200" y="431801"/>
              <a:ext cx="1008063" cy="627063"/>
            </a:xfrm>
            <a:custGeom>
              <a:avLst/>
              <a:gdLst>
                <a:gd name="T0" fmla="*/ 0 w 372"/>
                <a:gd name="T1" fmla="*/ 231 h 231"/>
                <a:gd name="T2" fmla="*/ 0 w 372"/>
                <a:gd name="T3" fmla="*/ 65 h 231"/>
                <a:gd name="T4" fmla="*/ 177 w 372"/>
                <a:gd name="T5" fmla="*/ 33 h 231"/>
                <a:gd name="T6" fmla="*/ 245 w 372"/>
                <a:gd name="T7" fmla="*/ 49 h 231"/>
                <a:gd name="T8" fmla="*/ 258 w 372"/>
                <a:gd name="T9" fmla="*/ 10 h 231"/>
                <a:gd name="T10" fmla="*/ 283 w 372"/>
                <a:gd name="T11" fmla="*/ 10 h 231"/>
                <a:gd name="T12" fmla="*/ 316 w 372"/>
                <a:gd name="T13" fmla="*/ 49 h 231"/>
                <a:gd name="T14" fmla="*/ 364 w 372"/>
                <a:gd name="T15" fmla="*/ 25 h 231"/>
                <a:gd name="T16" fmla="*/ 372 w 372"/>
                <a:gd name="T17" fmla="*/ 28 h 231"/>
                <a:gd name="T18" fmla="*/ 372 w 372"/>
                <a:gd name="T19" fmla="*/ 48 h 231"/>
                <a:gd name="T20" fmla="*/ 341 w 372"/>
                <a:gd name="T21" fmla="*/ 62 h 231"/>
                <a:gd name="T22" fmla="*/ 337 w 372"/>
                <a:gd name="T23" fmla="*/ 101 h 231"/>
                <a:gd name="T24" fmla="*/ 345 w 372"/>
                <a:gd name="T25" fmla="*/ 216 h 231"/>
                <a:gd name="T26" fmla="*/ 277 w 372"/>
                <a:gd name="T27" fmla="*/ 216 h 231"/>
                <a:gd name="T28" fmla="*/ 205 w 372"/>
                <a:gd name="T29" fmla="*/ 167 h 231"/>
                <a:gd name="T30" fmla="*/ 0 w 372"/>
                <a:gd name="T31" fmla="*/ 231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72" h="231">
                  <a:moveTo>
                    <a:pt x="0" y="231"/>
                  </a:moveTo>
                  <a:cubicBezTo>
                    <a:pt x="0" y="65"/>
                    <a:pt x="0" y="65"/>
                    <a:pt x="0" y="65"/>
                  </a:cubicBezTo>
                  <a:cubicBezTo>
                    <a:pt x="177" y="33"/>
                    <a:pt x="177" y="33"/>
                    <a:pt x="177" y="33"/>
                  </a:cubicBezTo>
                  <a:cubicBezTo>
                    <a:pt x="245" y="49"/>
                    <a:pt x="245" y="49"/>
                    <a:pt x="245" y="49"/>
                  </a:cubicBezTo>
                  <a:cubicBezTo>
                    <a:pt x="258" y="10"/>
                    <a:pt x="258" y="10"/>
                    <a:pt x="258" y="10"/>
                  </a:cubicBezTo>
                  <a:cubicBezTo>
                    <a:pt x="258" y="10"/>
                    <a:pt x="265" y="0"/>
                    <a:pt x="283" y="10"/>
                  </a:cubicBezTo>
                  <a:cubicBezTo>
                    <a:pt x="301" y="21"/>
                    <a:pt x="304" y="46"/>
                    <a:pt x="316" y="49"/>
                  </a:cubicBezTo>
                  <a:cubicBezTo>
                    <a:pt x="328" y="52"/>
                    <a:pt x="360" y="37"/>
                    <a:pt x="364" y="25"/>
                  </a:cubicBezTo>
                  <a:cubicBezTo>
                    <a:pt x="368" y="13"/>
                    <a:pt x="372" y="28"/>
                    <a:pt x="372" y="28"/>
                  </a:cubicBezTo>
                  <a:cubicBezTo>
                    <a:pt x="372" y="48"/>
                    <a:pt x="372" y="48"/>
                    <a:pt x="372" y="48"/>
                  </a:cubicBezTo>
                  <a:cubicBezTo>
                    <a:pt x="341" y="62"/>
                    <a:pt x="341" y="62"/>
                    <a:pt x="341" y="62"/>
                  </a:cubicBezTo>
                  <a:cubicBezTo>
                    <a:pt x="337" y="101"/>
                    <a:pt x="337" y="101"/>
                    <a:pt x="337" y="101"/>
                  </a:cubicBezTo>
                  <a:cubicBezTo>
                    <a:pt x="345" y="216"/>
                    <a:pt x="345" y="216"/>
                    <a:pt x="345" y="216"/>
                  </a:cubicBezTo>
                  <a:cubicBezTo>
                    <a:pt x="345" y="216"/>
                    <a:pt x="293" y="223"/>
                    <a:pt x="277" y="216"/>
                  </a:cubicBezTo>
                  <a:cubicBezTo>
                    <a:pt x="257" y="208"/>
                    <a:pt x="232" y="167"/>
                    <a:pt x="205" y="167"/>
                  </a:cubicBezTo>
                  <a:cubicBezTo>
                    <a:pt x="179" y="168"/>
                    <a:pt x="0" y="231"/>
                    <a:pt x="0" y="2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60" name="Freeform 61">
              <a:extLst>
                <a:ext uri="{FF2B5EF4-FFF2-40B4-BE49-F238E27FC236}">
                  <a16:creationId xmlns:a16="http://schemas.microsoft.com/office/drawing/2014/main" id="{C6F989A5-DB0F-6C43-B8D9-3523FDBB288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93688" y="312738"/>
              <a:ext cx="347663" cy="176213"/>
            </a:xfrm>
            <a:custGeom>
              <a:avLst/>
              <a:gdLst>
                <a:gd name="T0" fmla="*/ 0 w 219"/>
                <a:gd name="T1" fmla="*/ 0 h 111"/>
                <a:gd name="T2" fmla="*/ 0 w 219"/>
                <a:gd name="T3" fmla="*/ 111 h 111"/>
                <a:gd name="T4" fmla="*/ 219 w 219"/>
                <a:gd name="T5" fmla="*/ 55 h 111"/>
                <a:gd name="T6" fmla="*/ 0 w 219"/>
                <a:gd name="T7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9" h="111">
                  <a:moveTo>
                    <a:pt x="0" y="0"/>
                  </a:moveTo>
                  <a:lnTo>
                    <a:pt x="0" y="111"/>
                  </a:lnTo>
                  <a:lnTo>
                    <a:pt x="219" y="55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sp>
        <p:nvSpPr>
          <p:cNvPr id="61" name="Freeform 99">
            <a:extLst>
              <a:ext uri="{FF2B5EF4-FFF2-40B4-BE49-F238E27FC236}">
                <a16:creationId xmlns:a16="http://schemas.microsoft.com/office/drawing/2014/main" id="{A9EB90EE-C272-B316-222E-1F599585751B}"/>
              </a:ext>
            </a:extLst>
          </p:cNvPr>
          <p:cNvSpPr>
            <a:spLocks noChangeAspect="1"/>
          </p:cNvSpPr>
          <p:nvPr/>
        </p:nvSpPr>
        <p:spPr bwMode="auto">
          <a:xfrm>
            <a:off x="627883" y="2971721"/>
            <a:ext cx="713468" cy="439259"/>
          </a:xfrm>
          <a:custGeom>
            <a:avLst/>
            <a:gdLst>
              <a:gd name="T0" fmla="*/ 327 w 1137"/>
              <a:gd name="T1" fmla="*/ 544 h 696"/>
              <a:gd name="T2" fmla="*/ 348 w 1137"/>
              <a:gd name="T3" fmla="*/ 672 h 696"/>
              <a:gd name="T4" fmla="*/ 315 w 1137"/>
              <a:gd name="T5" fmla="*/ 677 h 696"/>
              <a:gd name="T6" fmla="*/ 255 w 1137"/>
              <a:gd name="T7" fmla="*/ 501 h 696"/>
              <a:gd name="T8" fmla="*/ 256 w 1137"/>
              <a:gd name="T9" fmla="*/ 525 h 696"/>
              <a:gd name="T10" fmla="*/ 259 w 1137"/>
              <a:gd name="T11" fmla="*/ 659 h 696"/>
              <a:gd name="T12" fmla="*/ 218 w 1137"/>
              <a:gd name="T13" fmla="*/ 669 h 696"/>
              <a:gd name="T14" fmla="*/ 203 w 1137"/>
              <a:gd name="T15" fmla="*/ 519 h 696"/>
              <a:gd name="T16" fmla="*/ 166 w 1137"/>
              <a:gd name="T17" fmla="*/ 517 h 696"/>
              <a:gd name="T18" fmla="*/ 137 w 1137"/>
              <a:gd name="T19" fmla="*/ 648 h 696"/>
              <a:gd name="T20" fmla="*/ 118 w 1137"/>
              <a:gd name="T21" fmla="*/ 690 h 696"/>
              <a:gd name="T22" fmla="*/ 111 w 1137"/>
              <a:gd name="T23" fmla="*/ 600 h 696"/>
              <a:gd name="T24" fmla="*/ 97 w 1137"/>
              <a:gd name="T25" fmla="*/ 579 h 696"/>
              <a:gd name="T26" fmla="*/ 52 w 1137"/>
              <a:gd name="T27" fmla="*/ 689 h 696"/>
              <a:gd name="T28" fmla="*/ 42 w 1137"/>
              <a:gd name="T29" fmla="*/ 492 h 696"/>
              <a:gd name="T30" fmla="*/ 40 w 1137"/>
              <a:gd name="T31" fmla="*/ 325 h 696"/>
              <a:gd name="T32" fmla="*/ 7 w 1137"/>
              <a:gd name="T33" fmla="*/ 310 h 696"/>
              <a:gd name="T34" fmla="*/ 11 w 1137"/>
              <a:gd name="T35" fmla="*/ 282 h 696"/>
              <a:gd name="T36" fmla="*/ 107 w 1137"/>
              <a:gd name="T37" fmla="*/ 284 h 696"/>
              <a:gd name="T38" fmla="*/ 161 w 1137"/>
              <a:gd name="T39" fmla="*/ 279 h 696"/>
              <a:gd name="T40" fmla="*/ 129 w 1137"/>
              <a:gd name="T41" fmla="*/ 315 h 696"/>
              <a:gd name="T42" fmla="*/ 147 w 1137"/>
              <a:gd name="T43" fmla="*/ 349 h 696"/>
              <a:gd name="T44" fmla="*/ 280 w 1137"/>
              <a:gd name="T45" fmla="*/ 338 h 696"/>
              <a:gd name="T46" fmla="*/ 220 w 1137"/>
              <a:gd name="T47" fmla="*/ 224 h 696"/>
              <a:gd name="T48" fmla="*/ 122 w 1137"/>
              <a:gd name="T49" fmla="*/ 218 h 696"/>
              <a:gd name="T50" fmla="*/ 29 w 1137"/>
              <a:gd name="T51" fmla="*/ 211 h 696"/>
              <a:gd name="T52" fmla="*/ 84 w 1137"/>
              <a:gd name="T53" fmla="*/ 96 h 696"/>
              <a:gd name="T54" fmla="*/ 38 w 1137"/>
              <a:gd name="T55" fmla="*/ 33 h 696"/>
              <a:gd name="T56" fmla="*/ 85 w 1137"/>
              <a:gd name="T57" fmla="*/ 19 h 696"/>
              <a:gd name="T58" fmla="*/ 183 w 1137"/>
              <a:gd name="T59" fmla="*/ 21 h 696"/>
              <a:gd name="T60" fmla="*/ 218 w 1137"/>
              <a:gd name="T61" fmla="*/ 18 h 696"/>
              <a:gd name="T62" fmla="*/ 381 w 1137"/>
              <a:gd name="T63" fmla="*/ 63 h 696"/>
              <a:gd name="T64" fmla="*/ 560 w 1137"/>
              <a:gd name="T65" fmla="*/ 63 h 696"/>
              <a:gd name="T66" fmla="*/ 765 w 1137"/>
              <a:gd name="T67" fmla="*/ 70 h 696"/>
              <a:gd name="T68" fmla="*/ 1013 w 1137"/>
              <a:gd name="T69" fmla="*/ 50 h 696"/>
              <a:gd name="T70" fmla="*/ 1092 w 1137"/>
              <a:gd name="T71" fmla="*/ 176 h 696"/>
              <a:gd name="T72" fmla="*/ 1114 w 1137"/>
              <a:gd name="T73" fmla="*/ 396 h 696"/>
              <a:gd name="T74" fmla="*/ 1125 w 1137"/>
              <a:gd name="T75" fmla="*/ 471 h 696"/>
              <a:gd name="T76" fmla="*/ 1117 w 1137"/>
              <a:gd name="T77" fmla="*/ 515 h 696"/>
              <a:gd name="T78" fmla="*/ 1092 w 1137"/>
              <a:gd name="T79" fmla="*/ 533 h 696"/>
              <a:gd name="T80" fmla="*/ 1072 w 1137"/>
              <a:gd name="T81" fmla="*/ 525 h 696"/>
              <a:gd name="T82" fmla="*/ 1065 w 1137"/>
              <a:gd name="T83" fmla="*/ 311 h 696"/>
              <a:gd name="T84" fmla="*/ 1047 w 1137"/>
              <a:gd name="T85" fmla="*/ 438 h 696"/>
              <a:gd name="T86" fmla="*/ 1062 w 1137"/>
              <a:gd name="T87" fmla="*/ 597 h 696"/>
              <a:gd name="T88" fmla="*/ 1071 w 1137"/>
              <a:gd name="T89" fmla="*/ 686 h 696"/>
              <a:gd name="T90" fmla="*/ 1017 w 1137"/>
              <a:gd name="T91" fmla="*/ 665 h 696"/>
              <a:gd name="T92" fmla="*/ 992 w 1137"/>
              <a:gd name="T93" fmla="*/ 562 h 696"/>
              <a:gd name="T94" fmla="*/ 935 w 1137"/>
              <a:gd name="T95" fmla="*/ 690 h 696"/>
              <a:gd name="T96" fmla="*/ 945 w 1137"/>
              <a:gd name="T97" fmla="*/ 517 h 696"/>
              <a:gd name="T98" fmla="*/ 914 w 1137"/>
              <a:gd name="T99" fmla="*/ 472 h 696"/>
              <a:gd name="T100" fmla="*/ 861 w 1137"/>
              <a:gd name="T101" fmla="*/ 436 h 696"/>
              <a:gd name="T102" fmla="*/ 733 w 1137"/>
              <a:gd name="T103" fmla="*/ 452 h 696"/>
              <a:gd name="T104" fmla="*/ 514 w 1137"/>
              <a:gd name="T105" fmla="*/ 427 h 696"/>
              <a:gd name="T106" fmla="*/ 501 w 1137"/>
              <a:gd name="T107" fmla="*/ 614 h 696"/>
              <a:gd name="T108" fmla="*/ 509 w 1137"/>
              <a:gd name="T109" fmla="*/ 684 h 696"/>
              <a:gd name="T110" fmla="*/ 464 w 1137"/>
              <a:gd name="T111" fmla="*/ 670 h 696"/>
              <a:gd name="T112" fmla="*/ 432 w 1137"/>
              <a:gd name="T113" fmla="*/ 636 h 696"/>
              <a:gd name="T114" fmla="*/ 381 w 1137"/>
              <a:gd name="T115" fmla="*/ 689 h 696"/>
              <a:gd name="T116" fmla="*/ 390 w 1137"/>
              <a:gd name="T117" fmla="*/ 563 h 696"/>
              <a:gd name="T118" fmla="*/ 351 w 1137"/>
              <a:gd name="T119" fmla="*/ 438 h 6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137" h="696">
                <a:moveTo>
                  <a:pt x="304" y="401"/>
                </a:moveTo>
                <a:cubicBezTo>
                  <a:pt x="315" y="452"/>
                  <a:pt x="309" y="499"/>
                  <a:pt x="327" y="544"/>
                </a:cubicBezTo>
                <a:cubicBezTo>
                  <a:pt x="333" y="559"/>
                  <a:pt x="331" y="576"/>
                  <a:pt x="334" y="593"/>
                </a:cubicBezTo>
                <a:cubicBezTo>
                  <a:pt x="339" y="619"/>
                  <a:pt x="344" y="646"/>
                  <a:pt x="348" y="672"/>
                </a:cubicBezTo>
                <a:cubicBezTo>
                  <a:pt x="349" y="678"/>
                  <a:pt x="344" y="689"/>
                  <a:pt x="340" y="689"/>
                </a:cubicBezTo>
                <a:cubicBezTo>
                  <a:pt x="330" y="691"/>
                  <a:pt x="317" y="694"/>
                  <a:pt x="315" y="677"/>
                </a:cubicBezTo>
                <a:cubicBezTo>
                  <a:pt x="313" y="656"/>
                  <a:pt x="310" y="634"/>
                  <a:pt x="307" y="613"/>
                </a:cubicBezTo>
                <a:cubicBezTo>
                  <a:pt x="302" y="569"/>
                  <a:pt x="276" y="536"/>
                  <a:pt x="255" y="501"/>
                </a:cubicBezTo>
                <a:cubicBezTo>
                  <a:pt x="253" y="502"/>
                  <a:pt x="250" y="503"/>
                  <a:pt x="247" y="504"/>
                </a:cubicBezTo>
                <a:cubicBezTo>
                  <a:pt x="250" y="511"/>
                  <a:pt x="251" y="520"/>
                  <a:pt x="256" y="525"/>
                </a:cubicBezTo>
                <a:cubicBezTo>
                  <a:pt x="271" y="542"/>
                  <a:pt x="273" y="560"/>
                  <a:pt x="267" y="582"/>
                </a:cubicBezTo>
                <a:cubicBezTo>
                  <a:pt x="261" y="607"/>
                  <a:pt x="261" y="633"/>
                  <a:pt x="259" y="659"/>
                </a:cubicBezTo>
                <a:cubicBezTo>
                  <a:pt x="257" y="674"/>
                  <a:pt x="255" y="688"/>
                  <a:pt x="236" y="690"/>
                </a:cubicBezTo>
                <a:cubicBezTo>
                  <a:pt x="218" y="692"/>
                  <a:pt x="210" y="684"/>
                  <a:pt x="218" y="669"/>
                </a:cubicBezTo>
                <a:cubicBezTo>
                  <a:pt x="234" y="639"/>
                  <a:pt x="228" y="607"/>
                  <a:pt x="226" y="577"/>
                </a:cubicBezTo>
                <a:cubicBezTo>
                  <a:pt x="225" y="558"/>
                  <a:pt x="212" y="540"/>
                  <a:pt x="203" y="519"/>
                </a:cubicBezTo>
                <a:cubicBezTo>
                  <a:pt x="196" y="529"/>
                  <a:pt x="192" y="536"/>
                  <a:pt x="186" y="545"/>
                </a:cubicBezTo>
                <a:cubicBezTo>
                  <a:pt x="180" y="536"/>
                  <a:pt x="175" y="529"/>
                  <a:pt x="166" y="517"/>
                </a:cubicBezTo>
                <a:cubicBezTo>
                  <a:pt x="161" y="534"/>
                  <a:pt x="156" y="546"/>
                  <a:pt x="154" y="559"/>
                </a:cubicBezTo>
                <a:cubicBezTo>
                  <a:pt x="148" y="589"/>
                  <a:pt x="142" y="618"/>
                  <a:pt x="137" y="648"/>
                </a:cubicBezTo>
                <a:cubicBezTo>
                  <a:pt x="136" y="657"/>
                  <a:pt x="140" y="668"/>
                  <a:pt x="137" y="675"/>
                </a:cubicBezTo>
                <a:cubicBezTo>
                  <a:pt x="134" y="682"/>
                  <a:pt x="124" y="685"/>
                  <a:pt x="118" y="690"/>
                </a:cubicBezTo>
                <a:cubicBezTo>
                  <a:pt x="113" y="684"/>
                  <a:pt x="105" y="677"/>
                  <a:pt x="105" y="671"/>
                </a:cubicBezTo>
                <a:cubicBezTo>
                  <a:pt x="106" y="647"/>
                  <a:pt x="110" y="623"/>
                  <a:pt x="111" y="600"/>
                </a:cubicBezTo>
                <a:cubicBezTo>
                  <a:pt x="112" y="578"/>
                  <a:pt x="111" y="557"/>
                  <a:pt x="107" y="534"/>
                </a:cubicBezTo>
                <a:cubicBezTo>
                  <a:pt x="103" y="549"/>
                  <a:pt x="100" y="564"/>
                  <a:pt x="97" y="579"/>
                </a:cubicBezTo>
                <a:cubicBezTo>
                  <a:pt x="90" y="612"/>
                  <a:pt x="84" y="645"/>
                  <a:pt x="77" y="677"/>
                </a:cubicBezTo>
                <a:cubicBezTo>
                  <a:pt x="74" y="692"/>
                  <a:pt x="62" y="693"/>
                  <a:pt x="52" y="689"/>
                </a:cubicBezTo>
                <a:cubicBezTo>
                  <a:pt x="47" y="686"/>
                  <a:pt x="43" y="674"/>
                  <a:pt x="45" y="668"/>
                </a:cubicBezTo>
                <a:cubicBezTo>
                  <a:pt x="65" y="609"/>
                  <a:pt x="62" y="550"/>
                  <a:pt x="42" y="492"/>
                </a:cubicBezTo>
                <a:cubicBezTo>
                  <a:pt x="29" y="453"/>
                  <a:pt x="40" y="415"/>
                  <a:pt x="45" y="377"/>
                </a:cubicBezTo>
                <a:cubicBezTo>
                  <a:pt x="47" y="360"/>
                  <a:pt x="43" y="342"/>
                  <a:pt x="40" y="325"/>
                </a:cubicBezTo>
                <a:cubicBezTo>
                  <a:pt x="40" y="322"/>
                  <a:pt x="32" y="320"/>
                  <a:pt x="27" y="318"/>
                </a:cubicBezTo>
                <a:cubicBezTo>
                  <a:pt x="21" y="315"/>
                  <a:pt x="12" y="315"/>
                  <a:pt x="7" y="310"/>
                </a:cubicBezTo>
                <a:cubicBezTo>
                  <a:pt x="3" y="305"/>
                  <a:pt x="1" y="297"/>
                  <a:pt x="0" y="291"/>
                </a:cubicBezTo>
                <a:cubicBezTo>
                  <a:pt x="0" y="288"/>
                  <a:pt x="9" y="281"/>
                  <a:pt x="11" y="282"/>
                </a:cubicBezTo>
                <a:cubicBezTo>
                  <a:pt x="34" y="290"/>
                  <a:pt x="52" y="274"/>
                  <a:pt x="73" y="274"/>
                </a:cubicBezTo>
                <a:cubicBezTo>
                  <a:pt x="85" y="274"/>
                  <a:pt x="97" y="278"/>
                  <a:pt x="107" y="284"/>
                </a:cubicBezTo>
                <a:cubicBezTo>
                  <a:pt x="119" y="279"/>
                  <a:pt x="131" y="273"/>
                  <a:pt x="143" y="271"/>
                </a:cubicBezTo>
                <a:cubicBezTo>
                  <a:pt x="148" y="270"/>
                  <a:pt x="156" y="275"/>
                  <a:pt x="161" y="279"/>
                </a:cubicBezTo>
                <a:cubicBezTo>
                  <a:pt x="162" y="280"/>
                  <a:pt x="159" y="290"/>
                  <a:pt x="155" y="293"/>
                </a:cubicBezTo>
                <a:cubicBezTo>
                  <a:pt x="147" y="301"/>
                  <a:pt x="137" y="307"/>
                  <a:pt x="129" y="315"/>
                </a:cubicBezTo>
                <a:cubicBezTo>
                  <a:pt x="126" y="318"/>
                  <a:pt x="124" y="326"/>
                  <a:pt x="126" y="329"/>
                </a:cubicBezTo>
                <a:cubicBezTo>
                  <a:pt x="132" y="337"/>
                  <a:pt x="140" y="349"/>
                  <a:pt x="147" y="349"/>
                </a:cubicBezTo>
                <a:cubicBezTo>
                  <a:pt x="179" y="349"/>
                  <a:pt x="210" y="346"/>
                  <a:pt x="242" y="343"/>
                </a:cubicBezTo>
                <a:cubicBezTo>
                  <a:pt x="254" y="342"/>
                  <a:pt x="266" y="340"/>
                  <a:pt x="280" y="338"/>
                </a:cubicBezTo>
                <a:cubicBezTo>
                  <a:pt x="277" y="331"/>
                  <a:pt x="276" y="323"/>
                  <a:pt x="272" y="316"/>
                </a:cubicBezTo>
                <a:cubicBezTo>
                  <a:pt x="255" y="285"/>
                  <a:pt x="238" y="254"/>
                  <a:pt x="220" y="224"/>
                </a:cubicBezTo>
                <a:cubicBezTo>
                  <a:pt x="217" y="220"/>
                  <a:pt x="209" y="216"/>
                  <a:pt x="203" y="216"/>
                </a:cubicBezTo>
                <a:cubicBezTo>
                  <a:pt x="176" y="216"/>
                  <a:pt x="149" y="221"/>
                  <a:pt x="122" y="218"/>
                </a:cubicBezTo>
                <a:cubicBezTo>
                  <a:pt x="95" y="215"/>
                  <a:pt x="68" y="234"/>
                  <a:pt x="41" y="218"/>
                </a:cubicBezTo>
                <a:cubicBezTo>
                  <a:pt x="37" y="216"/>
                  <a:pt x="31" y="215"/>
                  <a:pt x="29" y="211"/>
                </a:cubicBezTo>
                <a:cubicBezTo>
                  <a:pt x="19" y="196"/>
                  <a:pt x="29" y="167"/>
                  <a:pt x="41" y="154"/>
                </a:cubicBezTo>
                <a:cubicBezTo>
                  <a:pt x="57" y="136"/>
                  <a:pt x="71" y="117"/>
                  <a:pt x="84" y="96"/>
                </a:cubicBezTo>
                <a:cubicBezTo>
                  <a:pt x="86" y="93"/>
                  <a:pt x="81" y="81"/>
                  <a:pt x="77" y="76"/>
                </a:cubicBezTo>
                <a:cubicBezTo>
                  <a:pt x="64" y="61"/>
                  <a:pt x="50" y="49"/>
                  <a:pt x="38" y="33"/>
                </a:cubicBezTo>
                <a:cubicBezTo>
                  <a:pt x="31" y="25"/>
                  <a:pt x="35" y="13"/>
                  <a:pt x="46" y="12"/>
                </a:cubicBezTo>
                <a:cubicBezTo>
                  <a:pt x="59" y="11"/>
                  <a:pt x="74" y="13"/>
                  <a:pt x="85" y="19"/>
                </a:cubicBezTo>
                <a:cubicBezTo>
                  <a:pt x="106" y="32"/>
                  <a:pt x="113" y="33"/>
                  <a:pt x="131" y="17"/>
                </a:cubicBezTo>
                <a:cubicBezTo>
                  <a:pt x="152" y="0"/>
                  <a:pt x="157" y="0"/>
                  <a:pt x="183" y="21"/>
                </a:cubicBezTo>
                <a:cubicBezTo>
                  <a:pt x="186" y="19"/>
                  <a:pt x="190" y="16"/>
                  <a:pt x="193" y="13"/>
                </a:cubicBezTo>
                <a:cubicBezTo>
                  <a:pt x="204" y="4"/>
                  <a:pt x="215" y="6"/>
                  <a:pt x="218" y="18"/>
                </a:cubicBezTo>
                <a:cubicBezTo>
                  <a:pt x="222" y="32"/>
                  <a:pt x="231" y="33"/>
                  <a:pt x="242" y="34"/>
                </a:cubicBezTo>
                <a:cubicBezTo>
                  <a:pt x="289" y="42"/>
                  <a:pt x="337" y="43"/>
                  <a:pt x="381" y="63"/>
                </a:cubicBezTo>
                <a:cubicBezTo>
                  <a:pt x="388" y="66"/>
                  <a:pt x="397" y="65"/>
                  <a:pt x="404" y="63"/>
                </a:cubicBezTo>
                <a:cubicBezTo>
                  <a:pt x="456" y="48"/>
                  <a:pt x="509" y="48"/>
                  <a:pt x="560" y="63"/>
                </a:cubicBezTo>
                <a:cubicBezTo>
                  <a:pt x="619" y="81"/>
                  <a:pt x="678" y="79"/>
                  <a:pt x="737" y="73"/>
                </a:cubicBezTo>
                <a:cubicBezTo>
                  <a:pt x="747" y="72"/>
                  <a:pt x="756" y="71"/>
                  <a:pt x="765" y="70"/>
                </a:cubicBezTo>
                <a:cubicBezTo>
                  <a:pt x="810" y="66"/>
                  <a:pt x="855" y="62"/>
                  <a:pt x="900" y="58"/>
                </a:cubicBezTo>
                <a:cubicBezTo>
                  <a:pt x="937" y="54"/>
                  <a:pt x="975" y="51"/>
                  <a:pt x="1013" y="50"/>
                </a:cubicBezTo>
                <a:cubicBezTo>
                  <a:pt x="1059" y="48"/>
                  <a:pt x="1080" y="66"/>
                  <a:pt x="1087" y="112"/>
                </a:cubicBezTo>
                <a:cubicBezTo>
                  <a:pt x="1091" y="133"/>
                  <a:pt x="1092" y="154"/>
                  <a:pt x="1092" y="176"/>
                </a:cubicBezTo>
                <a:cubicBezTo>
                  <a:pt x="1093" y="231"/>
                  <a:pt x="1090" y="286"/>
                  <a:pt x="1093" y="341"/>
                </a:cubicBezTo>
                <a:cubicBezTo>
                  <a:pt x="1094" y="360"/>
                  <a:pt x="1106" y="378"/>
                  <a:pt x="1114" y="396"/>
                </a:cubicBezTo>
                <a:cubicBezTo>
                  <a:pt x="1123" y="414"/>
                  <a:pt x="1137" y="429"/>
                  <a:pt x="1121" y="451"/>
                </a:cubicBezTo>
                <a:cubicBezTo>
                  <a:pt x="1118" y="454"/>
                  <a:pt x="1123" y="464"/>
                  <a:pt x="1125" y="471"/>
                </a:cubicBezTo>
                <a:cubicBezTo>
                  <a:pt x="1127" y="483"/>
                  <a:pt x="1130" y="494"/>
                  <a:pt x="1133" y="506"/>
                </a:cubicBezTo>
                <a:cubicBezTo>
                  <a:pt x="1135" y="521"/>
                  <a:pt x="1129" y="522"/>
                  <a:pt x="1117" y="515"/>
                </a:cubicBezTo>
                <a:cubicBezTo>
                  <a:pt x="1114" y="526"/>
                  <a:pt x="1111" y="536"/>
                  <a:pt x="1107" y="550"/>
                </a:cubicBezTo>
                <a:cubicBezTo>
                  <a:pt x="1100" y="542"/>
                  <a:pt x="1096" y="538"/>
                  <a:pt x="1092" y="533"/>
                </a:cubicBezTo>
                <a:cubicBezTo>
                  <a:pt x="1087" y="535"/>
                  <a:pt x="1082" y="536"/>
                  <a:pt x="1077" y="539"/>
                </a:cubicBezTo>
                <a:cubicBezTo>
                  <a:pt x="1075" y="533"/>
                  <a:pt x="1073" y="529"/>
                  <a:pt x="1072" y="525"/>
                </a:cubicBezTo>
                <a:cubicBezTo>
                  <a:pt x="1071" y="494"/>
                  <a:pt x="1078" y="459"/>
                  <a:pt x="1066" y="434"/>
                </a:cubicBezTo>
                <a:cubicBezTo>
                  <a:pt x="1046" y="390"/>
                  <a:pt x="1081" y="352"/>
                  <a:pt x="1065" y="311"/>
                </a:cubicBezTo>
                <a:cubicBezTo>
                  <a:pt x="1048" y="345"/>
                  <a:pt x="1029" y="379"/>
                  <a:pt x="1037" y="420"/>
                </a:cubicBezTo>
                <a:cubicBezTo>
                  <a:pt x="1038" y="426"/>
                  <a:pt x="1045" y="432"/>
                  <a:pt x="1047" y="438"/>
                </a:cubicBezTo>
                <a:cubicBezTo>
                  <a:pt x="1052" y="449"/>
                  <a:pt x="1059" y="461"/>
                  <a:pt x="1059" y="472"/>
                </a:cubicBezTo>
                <a:cubicBezTo>
                  <a:pt x="1061" y="514"/>
                  <a:pt x="1060" y="556"/>
                  <a:pt x="1062" y="597"/>
                </a:cubicBezTo>
                <a:cubicBezTo>
                  <a:pt x="1063" y="613"/>
                  <a:pt x="1073" y="628"/>
                  <a:pt x="1075" y="644"/>
                </a:cubicBezTo>
                <a:cubicBezTo>
                  <a:pt x="1076" y="657"/>
                  <a:pt x="1072" y="672"/>
                  <a:pt x="1071" y="686"/>
                </a:cubicBezTo>
                <a:cubicBezTo>
                  <a:pt x="1058" y="687"/>
                  <a:pt x="1045" y="689"/>
                  <a:pt x="1033" y="690"/>
                </a:cubicBezTo>
                <a:cubicBezTo>
                  <a:pt x="1014" y="690"/>
                  <a:pt x="1010" y="683"/>
                  <a:pt x="1017" y="665"/>
                </a:cubicBezTo>
                <a:cubicBezTo>
                  <a:pt x="1032" y="628"/>
                  <a:pt x="1025" y="578"/>
                  <a:pt x="998" y="541"/>
                </a:cubicBezTo>
                <a:cubicBezTo>
                  <a:pt x="996" y="549"/>
                  <a:pt x="993" y="556"/>
                  <a:pt x="992" y="562"/>
                </a:cubicBezTo>
                <a:cubicBezTo>
                  <a:pt x="990" y="591"/>
                  <a:pt x="987" y="620"/>
                  <a:pt x="986" y="649"/>
                </a:cubicBezTo>
                <a:cubicBezTo>
                  <a:pt x="985" y="680"/>
                  <a:pt x="966" y="696"/>
                  <a:pt x="935" y="690"/>
                </a:cubicBezTo>
                <a:cubicBezTo>
                  <a:pt x="921" y="687"/>
                  <a:pt x="921" y="678"/>
                  <a:pt x="926" y="669"/>
                </a:cubicBezTo>
                <a:cubicBezTo>
                  <a:pt x="952" y="621"/>
                  <a:pt x="951" y="569"/>
                  <a:pt x="945" y="517"/>
                </a:cubicBezTo>
                <a:cubicBezTo>
                  <a:pt x="942" y="493"/>
                  <a:pt x="932" y="471"/>
                  <a:pt x="921" y="448"/>
                </a:cubicBezTo>
                <a:cubicBezTo>
                  <a:pt x="919" y="456"/>
                  <a:pt x="917" y="463"/>
                  <a:pt x="914" y="472"/>
                </a:cubicBezTo>
                <a:cubicBezTo>
                  <a:pt x="906" y="471"/>
                  <a:pt x="898" y="471"/>
                  <a:pt x="889" y="470"/>
                </a:cubicBezTo>
                <a:cubicBezTo>
                  <a:pt x="888" y="452"/>
                  <a:pt x="880" y="441"/>
                  <a:pt x="861" y="436"/>
                </a:cubicBezTo>
                <a:cubicBezTo>
                  <a:pt x="853" y="434"/>
                  <a:pt x="847" y="422"/>
                  <a:pt x="844" y="418"/>
                </a:cubicBezTo>
                <a:cubicBezTo>
                  <a:pt x="806" y="430"/>
                  <a:pt x="770" y="443"/>
                  <a:pt x="733" y="452"/>
                </a:cubicBezTo>
                <a:cubicBezTo>
                  <a:pt x="692" y="462"/>
                  <a:pt x="652" y="453"/>
                  <a:pt x="612" y="444"/>
                </a:cubicBezTo>
                <a:cubicBezTo>
                  <a:pt x="580" y="436"/>
                  <a:pt x="547" y="431"/>
                  <a:pt x="514" y="427"/>
                </a:cubicBezTo>
                <a:cubicBezTo>
                  <a:pt x="492" y="424"/>
                  <a:pt x="479" y="436"/>
                  <a:pt x="481" y="459"/>
                </a:cubicBezTo>
                <a:cubicBezTo>
                  <a:pt x="486" y="511"/>
                  <a:pt x="493" y="562"/>
                  <a:pt x="501" y="614"/>
                </a:cubicBezTo>
                <a:cubicBezTo>
                  <a:pt x="502" y="624"/>
                  <a:pt x="506" y="634"/>
                  <a:pt x="511" y="642"/>
                </a:cubicBezTo>
                <a:cubicBezTo>
                  <a:pt x="522" y="657"/>
                  <a:pt x="518" y="674"/>
                  <a:pt x="509" y="684"/>
                </a:cubicBezTo>
                <a:cubicBezTo>
                  <a:pt x="501" y="691"/>
                  <a:pt x="484" y="690"/>
                  <a:pt x="471" y="689"/>
                </a:cubicBezTo>
                <a:cubicBezTo>
                  <a:pt x="469" y="689"/>
                  <a:pt x="463" y="676"/>
                  <a:pt x="464" y="670"/>
                </a:cubicBezTo>
                <a:cubicBezTo>
                  <a:pt x="475" y="626"/>
                  <a:pt x="464" y="586"/>
                  <a:pt x="440" y="547"/>
                </a:cubicBezTo>
                <a:cubicBezTo>
                  <a:pt x="437" y="577"/>
                  <a:pt x="435" y="606"/>
                  <a:pt x="432" y="636"/>
                </a:cubicBezTo>
                <a:cubicBezTo>
                  <a:pt x="430" y="652"/>
                  <a:pt x="432" y="671"/>
                  <a:pt x="423" y="682"/>
                </a:cubicBezTo>
                <a:cubicBezTo>
                  <a:pt x="416" y="690"/>
                  <a:pt x="396" y="687"/>
                  <a:pt x="381" y="689"/>
                </a:cubicBezTo>
                <a:cubicBezTo>
                  <a:pt x="381" y="681"/>
                  <a:pt x="378" y="672"/>
                  <a:pt x="381" y="665"/>
                </a:cubicBezTo>
                <a:cubicBezTo>
                  <a:pt x="396" y="632"/>
                  <a:pt x="394" y="598"/>
                  <a:pt x="390" y="563"/>
                </a:cubicBezTo>
                <a:cubicBezTo>
                  <a:pt x="386" y="537"/>
                  <a:pt x="382" y="511"/>
                  <a:pt x="380" y="485"/>
                </a:cubicBezTo>
                <a:cubicBezTo>
                  <a:pt x="378" y="464"/>
                  <a:pt x="377" y="446"/>
                  <a:pt x="351" y="438"/>
                </a:cubicBezTo>
                <a:cubicBezTo>
                  <a:pt x="335" y="433"/>
                  <a:pt x="323" y="417"/>
                  <a:pt x="304" y="401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IN" sz="2400"/>
          </a:p>
        </p:txBody>
      </p:sp>
      <p:sp>
        <p:nvSpPr>
          <p:cNvPr id="63" name="Content Placeholder 12">
            <a:extLst>
              <a:ext uri="{FF2B5EF4-FFF2-40B4-BE49-F238E27FC236}">
                <a16:creationId xmlns:a16="http://schemas.microsoft.com/office/drawing/2014/main" id="{C8F72110-AE92-DD8E-908B-30E137834D0A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gray">
          <a:xfrm>
            <a:off x="5590198" y="2033928"/>
            <a:ext cx="4904175" cy="4227789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121920" tIns="121920" rIns="121920" bIns="121920" rtlCol="0" anchor="ctr" anchorCtr="0">
            <a:noAutofit/>
          </a:bodyPr>
          <a:lstStyle>
            <a:defPPr>
              <a:defRPr lang="en-US"/>
            </a:defPPr>
            <a:lvl1pPr indent="0">
              <a:spcBef>
                <a:spcPct val="20000"/>
              </a:spcBef>
              <a:buFontTx/>
              <a:buNone/>
              <a:defRPr sz="2000" b="1">
                <a:solidFill>
                  <a:schemeClr val="accent4"/>
                </a:solidFill>
              </a:defRPr>
            </a:lvl1pPr>
            <a:lvl2pPr marL="228600" indent="-228600">
              <a:spcBef>
                <a:spcPct val="20000"/>
              </a:spcBef>
              <a:buFont typeface="Wingdings" pitchFamily="2" charset="2"/>
              <a:buChar char="§"/>
              <a:defRPr sz="1600"/>
            </a:lvl2pPr>
            <a:lvl3pPr marL="457200" indent="-228600">
              <a:spcBef>
                <a:spcPct val="20000"/>
              </a:spcBef>
              <a:buFont typeface="Arial" pitchFamily="34" charset="0"/>
              <a:buChar char="–"/>
              <a:defRPr sz="1600"/>
            </a:lvl3pPr>
            <a:lvl4pPr marL="685800" indent="-228600">
              <a:spcBef>
                <a:spcPct val="20000"/>
              </a:spcBef>
              <a:buFont typeface="Arial" pitchFamily="34" charset="0"/>
              <a:buChar char="•"/>
              <a:defRPr sz="1600"/>
            </a:lvl4pPr>
            <a:lvl5pPr marL="914400" indent="-228600">
              <a:spcBef>
                <a:spcPct val="20000"/>
              </a:spcBef>
              <a:buFont typeface="Arial" pitchFamily="34" charset="0"/>
              <a:buChar char="»"/>
              <a:defRPr sz="16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endParaRPr lang="en-US" sz="2133" dirty="0">
              <a:solidFill>
                <a:schemeClr val="bg1"/>
              </a:solidFill>
            </a:endParaRPr>
          </a:p>
        </p:txBody>
      </p:sp>
      <p:sp>
        <p:nvSpPr>
          <p:cNvPr id="64" name="Content Placeholder 12">
            <a:extLst>
              <a:ext uri="{FF2B5EF4-FFF2-40B4-BE49-F238E27FC236}">
                <a16:creationId xmlns:a16="http://schemas.microsoft.com/office/drawing/2014/main" id="{DBACCB11-24EE-A955-5941-3D9B8F5F5937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gray">
          <a:xfrm>
            <a:off x="6254830" y="2074221"/>
            <a:ext cx="4007715" cy="65646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r>
              <a:rPr lang="lt-LT" sz="2133" dirty="0"/>
              <a:t>Ilgesnis karvių produktyvumo laikotarpis</a:t>
            </a:r>
          </a:p>
        </p:txBody>
      </p:sp>
      <p:sp>
        <p:nvSpPr>
          <p:cNvPr id="65" name="Content Placeholder 12">
            <a:extLst>
              <a:ext uri="{FF2B5EF4-FFF2-40B4-BE49-F238E27FC236}">
                <a16:creationId xmlns:a16="http://schemas.microsoft.com/office/drawing/2014/main" id="{2D3A4109-6568-CC91-6F6A-F7C65BCA31BF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gray">
          <a:xfrm>
            <a:off x="6254867" y="2912623"/>
            <a:ext cx="4006765" cy="65646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r>
              <a:rPr lang="lt-LT" sz="2133" dirty="0"/>
              <a:t>Pagerėjusi gyvūno sveikata bei gerovė</a:t>
            </a:r>
          </a:p>
        </p:txBody>
      </p:sp>
      <p:sp>
        <p:nvSpPr>
          <p:cNvPr id="66" name="Content Placeholder 12">
            <a:extLst>
              <a:ext uri="{FF2B5EF4-FFF2-40B4-BE49-F238E27FC236}">
                <a16:creationId xmlns:a16="http://schemas.microsoft.com/office/drawing/2014/main" id="{31F362AE-257C-93E1-6A9D-77535B172F21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gray">
          <a:xfrm>
            <a:off x="6254866" y="4570873"/>
            <a:ext cx="4156655" cy="65646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r>
              <a:rPr lang="lt-LT" sz="2133" dirty="0"/>
              <a:t>Mažesni apsėklinimo kaštai (kartu su sumažėjusiu hormonų kiekiu)</a:t>
            </a:r>
          </a:p>
        </p:txBody>
      </p:sp>
      <p:cxnSp>
        <p:nvCxnSpPr>
          <p:cNvPr id="67" name="Straight Connector 21">
            <a:extLst>
              <a:ext uri="{FF2B5EF4-FFF2-40B4-BE49-F238E27FC236}">
                <a16:creationId xmlns:a16="http://schemas.microsoft.com/office/drawing/2014/main" id="{CF3D47F9-98C2-06BB-8355-D36303C0BA16}"/>
              </a:ext>
            </a:extLst>
          </p:cNvPr>
          <p:cNvCxnSpPr>
            <a:cxnSpLocks/>
          </p:cNvCxnSpPr>
          <p:nvPr>
            <p:custDataLst>
              <p:tags r:id="rId20"/>
            </p:custDataLst>
          </p:nvPr>
        </p:nvCxnSpPr>
        <p:spPr bwMode="gray">
          <a:xfrm>
            <a:off x="5430935" y="2803171"/>
            <a:ext cx="4830697" cy="13787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21">
            <a:extLst>
              <a:ext uri="{FF2B5EF4-FFF2-40B4-BE49-F238E27FC236}">
                <a16:creationId xmlns:a16="http://schemas.microsoft.com/office/drawing/2014/main" id="{EBC872BC-38D8-0B46-8060-DC24C27D55ED}"/>
              </a:ext>
            </a:extLst>
          </p:cNvPr>
          <p:cNvCxnSpPr>
            <a:cxnSpLocks/>
          </p:cNvCxnSpPr>
          <p:nvPr>
            <p:custDataLst>
              <p:tags r:id="rId21"/>
            </p:custDataLst>
          </p:nvPr>
        </p:nvCxnSpPr>
        <p:spPr bwMode="gray">
          <a:xfrm>
            <a:off x="5445614" y="3653225"/>
            <a:ext cx="4830697" cy="0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21">
            <a:extLst>
              <a:ext uri="{FF2B5EF4-FFF2-40B4-BE49-F238E27FC236}">
                <a16:creationId xmlns:a16="http://schemas.microsoft.com/office/drawing/2014/main" id="{0071B73F-FFC7-9CA6-9812-005414F7B90C}"/>
              </a:ext>
            </a:extLst>
          </p:cNvPr>
          <p:cNvCxnSpPr>
            <a:cxnSpLocks/>
          </p:cNvCxnSpPr>
          <p:nvPr>
            <p:custDataLst>
              <p:tags r:id="rId22"/>
            </p:custDataLst>
          </p:nvPr>
        </p:nvCxnSpPr>
        <p:spPr bwMode="gray">
          <a:xfrm>
            <a:off x="5413881" y="4477840"/>
            <a:ext cx="4830697" cy="0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21">
            <a:extLst>
              <a:ext uri="{FF2B5EF4-FFF2-40B4-BE49-F238E27FC236}">
                <a16:creationId xmlns:a16="http://schemas.microsoft.com/office/drawing/2014/main" id="{5E8A29F8-D38E-4897-2892-9B485B02B50E}"/>
              </a:ext>
            </a:extLst>
          </p:cNvPr>
          <p:cNvCxnSpPr>
            <a:cxnSpLocks/>
          </p:cNvCxnSpPr>
          <p:nvPr>
            <p:custDataLst>
              <p:tags r:id="rId23"/>
            </p:custDataLst>
          </p:nvPr>
        </p:nvCxnSpPr>
        <p:spPr bwMode="gray">
          <a:xfrm>
            <a:off x="5413879" y="5302455"/>
            <a:ext cx="4830697" cy="0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Content Placeholder 12">
            <a:extLst>
              <a:ext uri="{FF2B5EF4-FFF2-40B4-BE49-F238E27FC236}">
                <a16:creationId xmlns:a16="http://schemas.microsoft.com/office/drawing/2014/main" id="{B6C16BE0-74E7-F8D1-53D4-E9AB4262AF2D}"/>
              </a:ext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 bwMode="gray">
          <a:xfrm>
            <a:off x="6254867" y="5399749"/>
            <a:ext cx="4006765" cy="65646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r>
              <a:rPr lang="lt-LT" sz="2133" dirty="0"/>
              <a:t>Sumažėjęs vaistų bei antibiotikų poreikis</a:t>
            </a:r>
          </a:p>
        </p:txBody>
      </p:sp>
      <p:sp>
        <p:nvSpPr>
          <p:cNvPr id="72" name="Content Placeholder 12">
            <a:extLst>
              <a:ext uri="{FF2B5EF4-FFF2-40B4-BE49-F238E27FC236}">
                <a16:creationId xmlns:a16="http://schemas.microsoft.com/office/drawing/2014/main" id="{38E88F3A-0C33-A1E9-D582-CDD5A055A8EA}"/>
              </a:ext>
            </a:extLst>
          </p:cNvPr>
          <p:cNvSpPr txBox="1">
            <a:spLocks/>
          </p:cNvSpPr>
          <p:nvPr>
            <p:custDataLst>
              <p:tags r:id="rId25"/>
            </p:custDataLst>
          </p:nvPr>
        </p:nvSpPr>
        <p:spPr bwMode="gray">
          <a:xfrm>
            <a:off x="6254867" y="3741991"/>
            <a:ext cx="4006765" cy="3282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r>
              <a:rPr lang="lt-LT" sz="2133" dirty="0"/>
              <a:t>Geresni reprodukcijos rodikliai</a:t>
            </a:r>
          </a:p>
        </p:txBody>
      </p:sp>
      <p:grpSp>
        <p:nvGrpSpPr>
          <p:cNvPr id="73" name="Group 154">
            <a:extLst>
              <a:ext uri="{FF2B5EF4-FFF2-40B4-BE49-F238E27FC236}">
                <a16:creationId xmlns:a16="http://schemas.microsoft.com/office/drawing/2014/main" id="{04BD090A-2F5B-BC05-6D05-1D0A5A523F09}"/>
              </a:ext>
            </a:extLst>
          </p:cNvPr>
          <p:cNvGrpSpPr/>
          <p:nvPr/>
        </p:nvGrpSpPr>
        <p:grpSpPr>
          <a:xfrm>
            <a:off x="5445613" y="3761942"/>
            <a:ext cx="607181" cy="607181"/>
            <a:chOff x="-1388836" y="1833321"/>
            <a:chExt cx="455386" cy="455386"/>
          </a:xfrm>
        </p:grpSpPr>
        <p:sp>
          <p:nvSpPr>
            <p:cNvPr id="74" name="Oval 155">
              <a:extLst>
                <a:ext uri="{FF2B5EF4-FFF2-40B4-BE49-F238E27FC236}">
                  <a16:creationId xmlns:a16="http://schemas.microsoft.com/office/drawing/2014/main" id="{50BC47D6-82E9-7BF3-71EB-AC655497102E}"/>
                </a:ext>
              </a:extLst>
            </p:cNvPr>
            <p:cNvSpPr/>
            <p:nvPr/>
          </p:nvSpPr>
          <p:spPr>
            <a:xfrm>
              <a:off x="-1388836" y="1833321"/>
              <a:ext cx="455386" cy="455386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2133" dirty="0">
                <a:solidFill>
                  <a:schemeClr val="accent5"/>
                </a:solidFill>
              </a:endParaRPr>
            </a:p>
          </p:txBody>
        </p:sp>
        <p:cxnSp>
          <p:nvCxnSpPr>
            <p:cNvPr id="75" name="Straight Arrow Connector 156">
              <a:extLst>
                <a:ext uri="{FF2B5EF4-FFF2-40B4-BE49-F238E27FC236}">
                  <a16:creationId xmlns:a16="http://schemas.microsoft.com/office/drawing/2014/main" id="{9FA33D25-32B2-972A-17AA-7C0E2A27A984}"/>
                </a:ext>
              </a:extLst>
            </p:cNvPr>
            <p:cNvCxnSpPr/>
            <p:nvPr/>
          </p:nvCxnSpPr>
          <p:spPr>
            <a:xfrm flipV="1">
              <a:off x="-1280397" y="1941761"/>
              <a:ext cx="238508" cy="238507"/>
            </a:xfrm>
            <a:prstGeom prst="straightConnector1">
              <a:avLst/>
            </a:prstGeom>
            <a:ln>
              <a:tailEnd type="triangle" w="med" len="med"/>
            </a:ln>
          </p:spPr>
          <p:style>
            <a:lnRef idx="3">
              <a:schemeClr val="accent4"/>
            </a:lnRef>
            <a:fillRef idx="0">
              <a:schemeClr val="accent4"/>
            </a:fillRef>
            <a:effectRef idx="2">
              <a:schemeClr val="accent4"/>
            </a:effectRef>
            <a:fontRef idx="minor">
              <a:schemeClr val="tx1"/>
            </a:fontRef>
          </p:style>
        </p:cxnSp>
      </p:grpSp>
      <p:grpSp>
        <p:nvGrpSpPr>
          <p:cNvPr id="76" name="Group 157">
            <a:extLst>
              <a:ext uri="{FF2B5EF4-FFF2-40B4-BE49-F238E27FC236}">
                <a16:creationId xmlns:a16="http://schemas.microsoft.com/office/drawing/2014/main" id="{0ECA66A2-C3AD-0E6A-9B52-E184CE567702}"/>
              </a:ext>
            </a:extLst>
          </p:cNvPr>
          <p:cNvGrpSpPr/>
          <p:nvPr/>
        </p:nvGrpSpPr>
        <p:grpSpPr>
          <a:xfrm>
            <a:off x="5445613" y="5443364"/>
            <a:ext cx="607181" cy="607181"/>
            <a:chOff x="-1388836" y="2477616"/>
            <a:chExt cx="455386" cy="455386"/>
          </a:xfrm>
        </p:grpSpPr>
        <p:sp>
          <p:nvSpPr>
            <p:cNvPr id="77" name="Oval 158">
              <a:extLst>
                <a:ext uri="{FF2B5EF4-FFF2-40B4-BE49-F238E27FC236}">
                  <a16:creationId xmlns:a16="http://schemas.microsoft.com/office/drawing/2014/main" id="{5CA38C0A-E20D-7041-A4EC-E3E32AA46905}"/>
                </a:ext>
              </a:extLst>
            </p:cNvPr>
            <p:cNvSpPr/>
            <p:nvPr/>
          </p:nvSpPr>
          <p:spPr>
            <a:xfrm>
              <a:off x="-1388836" y="2477616"/>
              <a:ext cx="455386" cy="455386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2133" dirty="0">
                <a:solidFill>
                  <a:schemeClr val="accent5"/>
                </a:solidFill>
              </a:endParaRPr>
            </a:p>
          </p:txBody>
        </p:sp>
        <p:cxnSp>
          <p:nvCxnSpPr>
            <p:cNvPr id="78" name="Straight Arrow Connector 159">
              <a:extLst>
                <a:ext uri="{FF2B5EF4-FFF2-40B4-BE49-F238E27FC236}">
                  <a16:creationId xmlns:a16="http://schemas.microsoft.com/office/drawing/2014/main" id="{21B327A3-390A-6D63-1E67-A08129CB3CEE}"/>
                </a:ext>
              </a:extLst>
            </p:cNvPr>
            <p:cNvCxnSpPr/>
            <p:nvPr/>
          </p:nvCxnSpPr>
          <p:spPr>
            <a:xfrm>
              <a:off x="-1280397" y="2586056"/>
              <a:ext cx="238508" cy="238507"/>
            </a:xfrm>
            <a:prstGeom prst="straightConnector1">
              <a:avLst/>
            </a:prstGeom>
            <a:ln>
              <a:tailEnd type="triangle" w="med" len="med"/>
            </a:ln>
          </p:spPr>
          <p:style>
            <a:lnRef idx="3">
              <a:schemeClr val="accent4"/>
            </a:lnRef>
            <a:fillRef idx="0">
              <a:schemeClr val="accent4"/>
            </a:fillRef>
            <a:effectRef idx="2">
              <a:schemeClr val="accent4"/>
            </a:effectRef>
            <a:fontRef idx="minor">
              <a:schemeClr val="tx1"/>
            </a:fontRef>
          </p:style>
        </p:cxnSp>
      </p:grpSp>
      <p:grpSp>
        <p:nvGrpSpPr>
          <p:cNvPr id="79" name="Group 160">
            <a:extLst>
              <a:ext uri="{FF2B5EF4-FFF2-40B4-BE49-F238E27FC236}">
                <a16:creationId xmlns:a16="http://schemas.microsoft.com/office/drawing/2014/main" id="{7DB5C91D-C0C1-2F03-A4CA-372E2E499B74}"/>
              </a:ext>
            </a:extLst>
          </p:cNvPr>
          <p:cNvGrpSpPr/>
          <p:nvPr/>
        </p:nvGrpSpPr>
        <p:grpSpPr>
          <a:xfrm>
            <a:off x="5445613" y="4586556"/>
            <a:ext cx="607181" cy="607181"/>
            <a:chOff x="-1388836" y="2477616"/>
            <a:chExt cx="455386" cy="455386"/>
          </a:xfrm>
        </p:grpSpPr>
        <p:sp>
          <p:nvSpPr>
            <p:cNvPr id="80" name="Oval 161">
              <a:extLst>
                <a:ext uri="{FF2B5EF4-FFF2-40B4-BE49-F238E27FC236}">
                  <a16:creationId xmlns:a16="http://schemas.microsoft.com/office/drawing/2014/main" id="{2E8A0CA9-DF94-A2A4-9DDF-1882D2DC0E52}"/>
                </a:ext>
              </a:extLst>
            </p:cNvPr>
            <p:cNvSpPr/>
            <p:nvPr/>
          </p:nvSpPr>
          <p:spPr>
            <a:xfrm>
              <a:off x="-1388836" y="2477616"/>
              <a:ext cx="455386" cy="455386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2133" dirty="0">
                <a:solidFill>
                  <a:schemeClr val="accent5"/>
                </a:solidFill>
              </a:endParaRPr>
            </a:p>
          </p:txBody>
        </p:sp>
        <p:cxnSp>
          <p:nvCxnSpPr>
            <p:cNvPr id="81" name="Straight Arrow Connector 162">
              <a:extLst>
                <a:ext uri="{FF2B5EF4-FFF2-40B4-BE49-F238E27FC236}">
                  <a16:creationId xmlns:a16="http://schemas.microsoft.com/office/drawing/2014/main" id="{3591FDF6-20CA-F132-0FBE-FEF3290DB7B3}"/>
                </a:ext>
              </a:extLst>
            </p:cNvPr>
            <p:cNvCxnSpPr/>
            <p:nvPr/>
          </p:nvCxnSpPr>
          <p:spPr>
            <a:xfrm>
              <a:off x="-1280397" y="2586056"/>
              <a:ext cx="238508" cy="238507"/>
            </a:xfrm>
            <a:prstGeom prst="straightConnector1">
              <a:avLst/>
            </a:prstGeom>
            <a:ln>
              <a:tailEnd type="triangle" w="med" len="med"/>
            </a:ln>
          </p:spPr>
          <p:style>
            <a:lnRef idx="3">
              <a:schemeClr val="accent4"/>
            </a:lnRef>
            <a:fillRef idx="0">
              <a:schemeClr val="accent4"/>
            </a:fillRef>
            <a:effectRef idx="2">
              <a:schemeClr val="accent4"/>
            </a:effectRef>
            <a:fontRef idx="minor">
              <a:schemeClr val="tx1"/>
            </a:fontRef>
          </p:style>
        </p:cxnSp>
      </p:grpSp>
      <p:grpSp>
        <p:nvGrpSpPr>
          <p:cNvPr id="82" name="Group 163">
            <a:extLst>
              <a:ext uri="{FF2B5EF4-FFF2-40B4-BE49-F238E27FC236}">
                <a16:creationId xmlns:a16="http://schemas.microsoft.com/office/drawing/2014/main" id="{D02B80AA-467E-4439-1D31-BC67CD5AB2A6}"/>
              </a:ext>
            </a:extLst>
          </p:cNvPr>
          <p:cNvGrpSpPr/>
          <p:nvPr/>
        </p:nvGrpSpPr>
        <p:grpSpPr>
          <a:xfrm>
            <a:off x="5445613" y="2937327"/>
            <a:ext cx="607181" cy="607181"/>
            <a:chOff x="-1388836" y="1833321"/>
            <a:chExt cx="455386" cy="455386"/>
          </a:xfrm>
        </p:grpSpPr>
        <p:sp>
          <p:nvSpPr>
            <p:cNvPr id="83" name="Oval 164">
              <a:extLst>
                <a:ext uri="{FF2B5EF4-FFF2-40B4-BE49-F238E27FC236}">
                  <a16:creationId xmlns:a16="http://schemas.microsoft.com/office/drawing/2014/main" id="{24FCA4C6-F22F-79A7-93F1-62091B95826E}"/>
                </a:ext>
              </a:extLst>
            </p:cNvPr>
            <p:cNvSpPr/>
            <p:nvPr/>
          </p:nvSpPr>
          <p:spPr>
            <a:xfrm>
              <a:off x="-1388836" y="1833321"/>
              <a:ext cx="455386" cy="455386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2133" dirty="0">
                <a:solidFill>
                  <a:schemeClr val="accent5"/>
                </a:solidFill>
              </a:endParaRPr>
            </a:p>
          </p:txBody>
        </p:sp>
        <p:cxnSp>
          <p:nvCxnSpPr>
            <p:cNvPr id="84" name="Straight Arrow Connector 165">
              <a:extLst>
                <a:ext uri="{FF2B5EF4-FFF2-40B4-BE49-F238E27FC236}">
                  <a16:creationId xmlns:a16="http://schemas.microsoft.com/office/drawing/2014/main" id="{6DA20952-A992-1B61-BF43-CD8D24A99568}"/>
                </a:ext>
              </a:extLst>
            </p:cNvPr>
            <p:cNvCxnSpPr/>
            <p:nvPr/>
          </p:nvCxnSpPr>
          <p:spPr>
            <a:xfrm flipV="1">
              <a:off x="-1280397" y="1941761"/>
              <a:ext cx="238508" cy="238507"/>
            </a:xfrm>
            <a:prstGeom prst="straightConnector1">
              <a:avLst/>
            </a:prstGeom>
            <a:ln>
              <a:tailEnd type="triangle" w="med" len="med"/>
            </a:ln>
          </p:spPr>
          <p:style>
            <a:lnRef idx="3">
              <a:schemeClr val="accent4"/>
            </a:lnRef>
            <a:fillRef idx="0">
              <a:schemeClr val="accent4"/>
            </a:fillRef>
            <a:effectRef idx="2">
              <a:schemeClr val="accent4"/>
            </a:effectRef>
            <a:fontRef idx="minor">
              <a:schemeClr val="tx1"/>
            </a:fontRef>
          </p:style>
        </p:cxnSp>
      </p:grpSp>
      <p:grpSp>
        <p:nvGrpSpPr>
          <p:cNvPr id="85" name="Group 166">
            <a:extLst>
              <a:ext uri="{FF2B5EF4-FFF2-40B4-BE49-F238E27FC236}">
                <a16:creationId xmlns:a16="http://schemas.microsoft.com/office/drawing/2014/main" id="{D6F44E1E-BB86-F868-5776-A93EC4E9D843}"/>
              </a:ext>
            </a:extLst>
          </p:cNvPr>
          <p:cNvGrpSpPr/>
          <p:nvPr/>
        </p:nvGrpSpPr>
        <p:grpSpPr>
          <a:xfrm>
            <a:off x="5445613" y="2112712"/>
            <a:ext cx="607181" cy="607181"/>
            <a:chOff x="-1388836" y="1833321"/>
            <a:chExt cx="455386" cy="455386"/>
          </a:xfrm>
        </p:grpSpPr>
        <p:sp>
          <p:nvSpPr>
            <p:cNvPr id="86" name="Oval 167">
              <a:extLst>
                <a:ext uri="{FF2B5EF4-FFF2-40B4-BE49-F238E27FC236}">
                  <a16:creationId xmlns:a16="http://schemas.microsoft.com/office/drawing/2014/main" id="{1628AAC4-86BF-9CB0-9187-334081A56CA3}"/>
                </a:ext>
              </a:extLst>
            </p:cNvPr>
            <p:cNvSpPr/>
            <p:nvPr/>
          </p:nvSpPr>
          <p:spPr>
            <a:xfrm>
              <a:off x="-1388836" y="1833321"/>
              <a:ext cx="455386" cy="455386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2133" dirty="0">
                <a:solidFill>
                  <a:schemeClr val="accent5"/>
                </a:solidFill>
              </a:endParaRPr>
            </a:p>
          </p:txBody>
        </p:sp>
        <p:cxnSp>
          <p:nvCxnSpPr>
            <p:cNvPr id="87" name="Straight Arrow Connector 168">
              <a:extLst>
                <a:ext uri="{FF2B5EF4-FFF2-40B4-BE49-F238E27FC236}">
                  <a16:creationId xmlns:a16="http://schemas.microsoft.com/office/drawing/2014/main" id="{8ED03BA6-D79C-EE13-75FC-0899BAAFF072}"/>
                </a:ext>
              </a:extLst>
            </p:cNvPr>
            <p:cNvCxnSpPr/>
            <p:nvPr/>
          </p:nvCxnSpPr>
          <p:spPr>
            <a:xfrm flipV="1">
              <a:off x="-1280397" y="1941761"/>
              <a:ext cx="238508" cy="238507"/>
            </a:xfrm>
            <a:prstGeom prst="straightConnector1">
              <a:avLst/>
            </a:prstGeom>
            <a:ln>
              <a:tailEnd type="triangle" w="med" len="med"/>
            </a:ln>
          </p:spPr>
          <p:style>
            <a:lnRef idx="3">
              <a:schemeClr val="accent4"/>
            </a:lnRef>
            <a:fillRef idx="0">
              <a:schemeClr val="accent4"/>
            </a:fillRef>
            <a:effectRef idx="2">
              <a:schemeClr val="accent4"/>
            </a:effectRef>
            <a:fontRef idx="minor">
              <a:schemeClr val="tx1"/>
            </a:fontRef>
          </p:style>
        </p:cxnSp>
      </p:grpSp>
      <p:pic>
        <p:nvPicPr>
          <p:cNvPr id="88" name="Paveikslėlis 87">
            <a:extLst>
              <a:ext uri="{FF2B5EF4-FFF2-40B4-BE49-F238E27FC236}">
                <a16:creationId xmlns:a16="http://schemas.microsoft.com/office/drawing/2014/main" id="{0270B7A7-9B6C-3C4B-7DE6-20B97C10B350}"/>
              </a:ext>
            </a:extLst>
          </p:cNvPr>
          <p:cNvPicPr>
            <a:picLocks noChangeAspect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32900" y="199231"/>
            <a:ext cx="1261473" cy="1261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619913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4AAD5F8F-D728-C6A7-8B1F-44DED57BD9BF}"/>
              </a:ext>
            </a:extLst>
          </p:cNvPr>
          <p:cNvSpPr txBox="1"/>
          <p:nvPr/>
        </p:nvSpPr>
        <p:spPr>
          <a:xfrm>
            <a:off x="927100" y="1266031"/>
            <a:ext cx="90678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lt-LT" sz="3200" dirty="0"/>
              <a:t>INFRORAUDONŲJŲ SPINDULIŲ TERMOGRAFIJA</a:t>
            </a:r>
          </a:p>
        </p:txBody>
      </p:sp>
      <p:pic>
        <p:nvPicPr>
          <p:cNvPr id="3" name="Picture 19" descr="A picture containing text, electronics&#10;&#10;Description automatically generated">
            <a:extLst>
              <a:ext uri="{FF2B5EF4-FFF2-40B4-BE49-F238E27FC236}">
                <a16:creationId xmlns:a16="http://schemas.microsoft.com/office/drawing/2014/main" id="{35259659-1637-4FD3-7890-BC0FD25375C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22784" y="2131503"/>
            <a:ext cx="3377625" cy="3377625"/>
          </a:xfrm>
          <a:prstGeom prst="rect">
            <a:avLst/>
          </a:prstGeom>
        </p:spPr>
      </p:pic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1F549EA-DAED-980F-D0E6-373648DB8AB1}"/>
              </a:ext>
            </a:extLst>
          </p:cNvPr>
          <p:cNvSpPr txBox="1">
            <a:spLocks/>
          </p:cNvSpPr>
          <p:nvPr/>
        </p:nvSpPr>
        <p:spPr>
          <a:xfrm>
            <a:off x="698500" y="5695954"/>
            <a:ext cx="8458200" cy="1589877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Font typeface="Arial" pitchFamily="34" charset="0"/>
              <a:buNone/>
            </a:pPr>
            <a:r>
              <a:rPr lang="lt-LT" sz="2000" dirty="0">
                <a:ea typeface="Times New Roman" panose="02020603050405020304" pitchFamily="18" charset="0"/>
              </a:rPr>
              <a:t>Infraraudonųjų spindulių </a:t>
            </a:r>
            <a:r>
              <a:rPr lang="lt-LT" sz="2000" dirty="0" err="1">
                <a:ea typeface="Times New Roman" panose="02020603050405020304" pitchFamily="18" charset="0"/>
              </a:rPr>
              <a:t>termografijos</a:t>
            </a:r>
            <a:r>
              <a:rPr lang="lt-LT" sz="2000" dirty="0">
                <a:ea typeface="Times New Roman" panose="02020603050405020304" pitchFamily="18" charset="0"/>
              </a:rPr>
              <a:t> funkcijos:</a:t>
            </a:r>
          </a:p>
          <a:p>
            <a:pPr algn="just">
              <a:buFontTx/>
              <a:buChar char="-"/>
            </a:pPr>
            <a:r>
              <a:rPr lang="lt-LT" sz="2000" dirty="0">
                <a:ea typeface="Times New Roman" panose="02020603050405020304" pitchFamily="18" charset="0"/>
              </a:rPr>
              <a:t>fiksuoti gyvūno kūno paviršiaus temperatūrinį žemėlapį;</a:t>
            </a:r>
          </a:p>
          <a:p>
            <a:pPr algn="just">
              <a:buFontTx/>
              <a:buChar char="-"/>
            </a:pPr>
            <a:r>
              <a:rPr lang="lt-LT" sz="2000" dirty="0">
                <a:ea typeface="Times New Roman" panose="02020603050405020304" pitchFamily="18" charset="0"/>
              </a:rPr>
              <a:t>nustatyti kūno vietas su aukščiausia ir žemiausia temperatūra;</a:t>
            </a:r>
          </a:p>
          <a:p>
            <a:pPr algn="just">
              <a:buFontTx/>
              <a:buChar char="-"/>
            </a:pPr>
            <a:r>
              <a:rPr lang="lt-LT" sz="2000" dirty="0">
                <a:ea typeface="Times New Roman" panose="02020603050405020304" pitchFamily="18" charset="0"/>
              </a:rPr>
              <a:t>įvertinti temperatūrinius pokyčius</a:t>
            </a:r>
            <a:r>
              <a:rPr lang="lt-LT" sz="18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. </a:t>
            </a:r>
          </a:p>
          <a:p>
            <a:pPr marL="0" indent="0" algn="just">
              <a:buNone/>
            </a:pPr>
            <a:endParaRPr lang="lt-LT" sz="1800" dirty="0"/>
          </a:p>
        </p:txBody>
      </p:sp>
      <p:pic>
        <p:nvPicPr>
          <p:cNvPr id="6" name="Paveikslėlis 5">
            <a:extLst>
              <a:ext uri="{FF2B5EF4-FFF2-40B4-BE49-F238E27FC236}">
                <a16:creationId xmlns:a16="http://schemas.microsoft.com/office/drawing/2014/main" id="{F40C2EC1-FE4C-3D81-D78F-C0DA4A27E55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199231"/>
            <a:ext cx="1185273" cy="1185273"/>
          </a:xfrm>
          <a:prstGeom prst="rect">
            <a:avLst/>
          </a:prstGeom>
        </p:spPr>
      </p:pic>
      <p:pic>
        <p:nvPicPr>
          <p:cNvPr id="4" name="Content Placeholder 4" descr="A picture containing text, different, several, variety&#10;&#10;Description automatically generated">
            <a:extLst>
              <a:ext uri="{FF2B5EF4-FFF2-40B4-BE49-F238E27FC236}">
                <a16:creationId xmlns:a16="http://schemas.microsoft.com/office/drawing/2014/main" id="{83BE9E72-708F-9884-FED7-6C44E513AA8B}"/>
              </a:ext>
            </a:extLst>
          </p:cNvPr>
          <p:cNvPicPr>
            <a:picLocks noGrp="1"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091" y="2037633"/>
            <a:ext cx="6477153" cy="3307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085328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6D46B25A-AD20-CAFC-D209-FE09CA33725D}"/>
              </a:ext>
            </a:extLst>
          </p:cNvPr>
          <p:cNvSpPr txBox="1">
            <a:spLocks/>
          </p:cNvSpPr>
          <p:nvPr/>
        </p:nvSpPr>
        <p:spPr>
          <a:xfrm>
            <a:off x="774700" y="1460704"/>
            <a:ext cx="8077200" cy="1981200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Font typeface="Arial" pitchFamily="34" charset="0"/>
              <a:buNone/>
            </a:pPr>
            <a:r>
              <a:rPr lang="lt-LT" sz="2400" dirty="0" err="1">
                <a:ea typeface="Times New Roman" panose="02020603050405020304" pitchFamily="18" charset="0"/>
              </a:rPr>
              <a:t>Termografijos</a:t>
            </a:r>
            <a:r>
              <a:rPr lang="lt-LT" sz="2400" dirty="0">
                <a:ea typeface="Times New Roman" panose="02020603050405020304" pitchFamily="18" charset="0"/>
              </a:rPr>
              <a:t> privalumai:</a:t>
            </a:r>
          </a:p>
          <a:p>
            <a:pPr algn="just">
              <a:buFontTx/>
              <a:buChar char="-"/>
            </a:pPr>
            <a:r>
              <a:rPr lang="lt-LT" sz="2400" dirty="0">
                <a:ea typeface="Times New Roman" panose="02020603050405020304" pitchFamily="18" charset="0"/>
              </a:rPr>
              <a:t>sumažina infekcijų perdavimo riziką;</a:t>
            </a:r>
          </a:p>
          <a:p>
            <a:pPr algn="just">
              <a:buFontTx/>
              <a:buChar char="-"/>
            </a:pPr>
            <a:r>
              <a:rPr lang="lt-LT" sz="2400" dirty="0">
                <a:ea typeface="Times New Roman" panose="02020603050405020304" pitchFamily="18" charset="0"/>
              </a:rPr>
              <a:t>sukelia mažiau streso; </a:t>
            </a:r>
          </a:p>
          <a:p>
            <a:pPr algn="just">
              <a:buFontTx/>
              <a:buChar char="-"/>
            </a:pPr>
            <a:r>
              <a:rPr lang="lt-LT" sz="2400" dirty="0">
                <a:ea typeface="Times New Roman" panose="02020603050405020304" pitchFamily="18" charset="0"/>
              </a:rPr>
              <a:t>galima integruotai matuoti laisvai judančių gyvūnų skirtingų kūno paviršių šilumines savybes, nes gyvūno nereikia fiksuoti. </a:t>
            </a:r>
            <a:endParaRPr lang="lt-LT" sz="2400" dirty="0"/>
          </a:p>
        </p:txBody>
      </p:sp>
      <p:pic>
        <p:nvPicPr>
          <p:cNvPr id="3" name="Picture 5" descr="A picture containing text, mammal&#10;&#10;Description automatically generated">
            <a:extLst>
              <a:ext uri="{FF2B5EF4-FFF2-40B4-BE49-F238E27FC236}">
                <a16:creationId xmlns:a16="http://schemas.microsoft.com/office/drawing/2014/main" id="{A73D5262-976D-15B5-CF73-743F3A3FF40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300" y="4009231"/>
            <a:ext cx="9241155" cy="3200400"/>
          </a:xfrm>
          <a:prstGeom prst="rect">
            <a:avLst/>
          </a:prstGeom>
        </p:spPr>
      </p:pic>
      <p:pic>
        <p:nvPicPr>
          <p:cNvPr id="4" name="Paveikslėlis 3">
            <a:extLst>
              <a:ext uri="{FF2B5EF4-FFF2-40B4-BE49-F238E27FC236}">
                <a16:creationId xmlns:a16="http://schemas.microsoft.com/office/drawing/2014/main" id="{128A37F5-6774-A10C-3AA7-B9E1CD7B48D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32900" y="199231"/>
            <a:ext cx="1261473" cy="1261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610942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3459DA-C2D3-D6DA-B50C-2FC6D84C678A}"/>
              </a:ext>
            </a:extLst>
          </p:cNvPr>
          <p:cNvSpPr txBox="1">
            <a:spLocks/>
          </p:cNvSpPr>
          <p:nvPr/>
        </p:nvSpPr>
        <p:spPr>
          <a:xfrm>
            <a:off x="199027" y="1342231"/>
            <a:ext cx="10494373" cy="743299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lt-LT" sz="3200" dirty="0">
                <a:latin typeface="+mn-lt"/>
              </a:rPr>
              <a:t>Gyvūnų stebėjimo ir požymių kodavimo programa</a:t>
            </a:r>
            <a:endParaRPr lang="lt-LT" dirty="0">
              <a:latin typeface="+mn-lt"/>
            </a:endParaRPr>
          </a:p>
        </p:txBody>
      </p:sp>
      <p:pic>
        <p:nvPicPr>
          <p:cNvPr id="3" name="Content Placeholder 5">
            <a:extLst>
              <a:ext uri="{FF2B5EF4-FFF2-40B4-BE49-F238E27FC236}">
                <a16:creationId xmlns:a16="http://schemas.microsoft.com/office/drawing/2014/main" id="{52A8EA48-4034-D9F8-9FB7-F8801532541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318" y="1913684"/>
            <a:ext cx="4724400" cy="3511804"/>
          </a:xfrm>
          <a:prstGeom prst="rect">
            <a:avLst/>
          </a:prstGeom>
        </p:spPr>
      </p:pic>
      <p:pic>
        <p:nvPicPr>
          <p:cNvPr id="4" name="Picture 8" descr="A collage of animals&#10;&#10;Description automatically generated with low confidence">
            <a:extLst>
              <a:ext uri="{FF2B5EF4-FFF2-40B4-BE49-F238E27FC236}">
                <a16:creationId xmlns:a16="http://schemas.microsoft.com/office/drawing/2014/main" id="{550C63EA-2689-8F71-2509-66C10B2959D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9757" y="1889011"/>
            <a:ext cx="4578795" cy="3586722"/>
          </a:xfrm>
          <a:prstGeom prst="rect">
            <a:avLst/>
          </a:prstGeom>
        </p:spPr>
      </p:pic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23288E6E-EF6B-BDEF-BB7A-B4902F62DC94}"/>
              </a:ext>
            </a:extLst>
          </p:cNvPr>
          <p:cNvSpPr txBox="1">
            <a:spLocks/>
          </p:cNvSpPr>
          <p:nvPr/>
        </p:nvSpPr>
        <p:spPr>
          <a:xfrm>
            <a:off x="334818" y="5475732"/>
            <a:ext cx="9829800" cy="1962499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Font typeface="Arial" pitchFamily="34" charset="0"/>
              <a:buNone/>
            </a:pPr>
            <a:r>
              <a:rPr lang="lt-LT" sz="1600" dirty="0">
                <a:solidFill>
                  <a:schemeClr val="accent2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  <a:r>
              <a:rPr lang="lt-LT" sz="1600" dirty="0">
                <a:ea typeface="Times New Roman" panose="02020603050405020304" pitchFamily="18" charset="0"/>
              </a:rPr>
              <a:t>Programos funkcijos:</a:t>
            </a:r>
          </a:p>
          <a:p>
            <a:pPr algn="just">
              <a:buFontTx/>
              <a:buChar char="-"/>
            </a:pPr>
            <a:r>
              <a:rPr lang="lt-LT" sz="1600" dirty="0">
                <a:ea typeface="Times New Roman" panose="02020603050405020304" pitchFamily="18" charset="0"/>
              </a:rPr>
              <a:t>leidžia koduoti tiriamųjų gyvūnų elgesį, filmuojamą realiu laiku ar nufilmuotą praeityje, ir atlikti jo statistinę analizę;</a:t>
            </a:r>
          </a:p>
          <a:p>
            <a:pPr algn="just">
              <a:buFontTx/>
              <a:buChar char="-"/>
            </a:pPr>
            <a:r>
              <a:rPr lang="lt-LT" sz="1600" dirty="0">
                <a:ea typeface="Times New Roman" panose="02020603050405020304" pitchFamily="18" charset="0"/>
              </a:rPr>
              <a:t>leidžiamas momentinis ir pastovus registravimas, kodavimo schemos paruošimas;</a:t>
            </a:r>
          </a:p>
          <a:p>
            <a:pPr algn="just">
              <a:buFontTx/>
              <a:buChar char="-"/>
            </a:pPr>
            <a:r>
              <a:rPr lang="lt-LT" sz="1600" dirty="0">
                <a:ea typeface="Times New Roman" panose="02020603050405020304" pitchFamily="18" charset="0"/>
              </a:rPr>
              <a:t>koduojami individai, elgesys, elgesio kontekstas, individų bei stebėjimo atvejų charakteristikos įvedamos kaip kintamieji;</a:t>
            </a:r>
          </a:p>
          <a:p>
            <a:pPr algn="just">
              <a:buFontTx/>
              <a:buChar char="-"/>
            </a:pPr>
            <a:r>
              <a:rPr lang="lt-LT" sz="1600" dirty="0">
                <a:ea typeface="Times New Roman" panose="02020603050405020304" pitchFamily="18" charset="0"/>
                <a:cs typeface="Times New Roman" panose="02020603050405020304" pitchFamily="18" charset="0"/>
              </a:rPr>
              <a:t>galima registruoti gyvūnų elgesio ypatumus arba natūralioje aplinkoje, arba specialiai sukurtoje situacijoje. </a:t>
            </a:r>
            <a:endParaRPr lang="lt-LT" sz="1600" dirty="0"/>
          </a:p>
        </p:txBody>
      </p:sp>
      <p:pic>
        <p:nvPicPr>
          <p:cNvPr id="7" name="Paveikslėlis 6">
            <a:extLst>
              <a:ext uri="{FF2B5EF4-FFF2-40B4-BE49-F238E27FC236}">
                <a16:creationId xmlns:a16="http://schemas.microsoft.com/office/drawing/2014/main" id="{1E9B5B71-7F95-0ABB-C21E-D1602556317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199231"/>
            <a:ext cx="1185273" cy="1185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691814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09567270-0D7B-818C-EFD3-2749BDD88229}"/>
              </a:ext>
            </a:extLst>
          </p:cNvPr>
          <p:cNvSpPr txBox="1"/>
          <p:nvPr/>
        </p:nvSpPr>
        <p:spPr>
          <a:xfrm>
            <a:off x="622300" y="1570831"/>
            <a:ext cx="982980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lt-LT" sz="2400" i="1" dirty="0">
                <a:effectLst/>
                <a:ea typeface="Calibri" panose="020F0502020204030204" pitchFamily="34" charset="0"/>
              </a:rPr>
              <a:t>Šunų pėdos temperatūra tyrimų laikotarpiu prieš ir po terapijos seanso (n=3; paklaidų juostos atitinka ±SD).</a:t>
            </a:r>
            <a:endParaRPr lang="lt-LT" dirty="0"/>
          </a:p>
        </p:txBody>
      </p:sp>
      <p:graphicFrame>
        <p:nvGraphicFramePr>
          <p:cNvPr id="5" name="Diagrama 4">
            <a:extLst>
              <a:ext uri="{FF2B5EF4-FFF2-40B4-BE49-F238E27FC236}">
                <a16:creationId xmlns:a16="http://schemas.microsoft.com/office/drawing/2014/main" id="{E57AD7BF-264E-4BDC-BD9B-05CE0B1EA65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5461976"/>
              </p:ext>
            </p:extLst>
          </p:nvPr>
        </p:nvGraphicFramePr>
        <p:xfrm>
          <a:off x="3521123" y="2401828"/>
          <a:ext cx="6973250" cy="48150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9F174210-CAD7-06B0-6F42-81653BE82356}"/>
              </a:ext>
            </a:extLst>
          </p:cNvPr>
          <p:cNvSpPr txBox="1"/>
          <p:nvPr/>
        </p:nvSpPr>
        <p:spPr>
          <a:xfrm>
            <a:off x="3670300" y="6696041"/>
            <a:ext cx="541606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lt-LT" sz="2400" dirty="0"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(p=0,700)</a:t>
            </a:r>
            <a:endParaRPr lang="lt-LT" dirty="0"/>
          </a:p>
        </p:txBody>
      </p:sp>
      <p:pic>
        <p:nvPicPr>
          <p:cNvPr id="8" name="Picture 3" descr="A screenshot of a computer&#10;&#10;Description automatically generated with low confidence">
            <a:extLst>
              <a:ext uri="{FF2B5EF4-FFF2-40B4-BE49-F238E27FC236}">
                <a16:creationId xmlns:a16="http://schemas.microsoft.com/office/drawing/2014/main" id="{50EB91BA-55F9-655D-927D-D909EA47099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47"/>
          <a:stretch>
            <a:fillRect/>
          </a:stretch>
        </p:blipFill>
        <p:spPr bwMode="auto">
          <a:xfrm>
            <a:off x="149130" y="3018631"/>
            <a:ext cx="3283279" cy="26670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9" name="Paveikslėlis 8">
            <a:extLst>
              <a:ext uri="{FF2B5EF4-FFF2-40B4-BE49-F238E27FC236}">
                <a16:creationId xmlns:a16="http://schemas.microsoft.com/office/drawing/2014/main" id="{E6917FA5-9C80-E4C2-C0DC-4CD68E34B69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32900" y="199231"/>
            <a:ext cx="1261473" cy="1261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24222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6EBEDB8B-D76F-3DBC-845A-B37F937CC85B}"/>
              </a:ext>
            </a:extLst>
          </p:cNvPr>
          <p:cNvSpPr txBox="1"/>
          <p:nvPr/>
        </p:nvSpPr>
        <p:spPr>
          <a:xfrm>
            <a:off x="469900" y="1342231"/>
            <a:ext cx="97536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Aft>
                <a:spcPts val="1000"/>
              </a:spcAft>
            </a:pPr>
            <a:r>
              <a:rPr lang="lt-LT" sz="2400" i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Šunų pulso ir kvėpavimo dažnis prieš ir po terapijos seanso</a:t>
            </a:r>
            <a:endParaRPr lang="lt-LT" sz="2000" i="1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4" name="Diagrama 3">
            <a:extLst>
              <a:ext uri="{FF2B5EF4-FFF2-40B4-BE49-F238E27FC236}">
                <a16:creationId xmlns:a16="http://schemas.microsoft.com/office/drawing/2014/main" id="{F574E134-4A64-4725-9F63-0FB979929AC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61237203"/>
              </p:ext>
            </p:extLst>
          </p:nvPr>
        </p:nvGraphicFramePr>
        <p:xfrm>
          <a:off x="932426" y="1951831"/>
          <a:ext cx="8300474" cy="533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5" name="Paveikslėlis 4">
            <a:extLst>
              <a:ext uri="{FF2B5EF4-FFF2-40B4-BE49-F238E27FC236}">
                <a16:creationId xmlns:a16="http://schemas.microsoft.com/office/drawing/2014/main" id="{4B14266D-9F56-B64B-3331-0EC9D42C463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32900" y="199231"/>
            <a:ext cx="1261473" cy="1261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971507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5486ECDC-842B-BB7F-CA08-CF543783BE1E}"/>
              </a:ext>
            </a:extLst>
          </p:cNvPr>
          <p:cNvSpPr txBox="1"/>
          <p:nvPr/>
        </p:nvSpPr>
        <p:spPr>
          <a:xfrm>
            <a:off x="1460500" y="1342231"/>
            <a:ext cx="85344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lt-LT" sz="2400" i="1" dirty="0">
                <a:effectLst/>
                <a:ea typeface="Calibri" panose="020F0502020204030204" pitchFamily="34" charset="0"/>
              </a:rPr>
              <a:t>Vidutiniai šunų elgsenos įverčiai po terapijos</a:t>
            </a:r>
            <a:endParaRPr lang="lt-LT" i="1" dirty="0"/>
          </a:p>
        </p:txBody>
      </p:sp>
      <p:graphicFrame>
        <p:nvGraphicFramePr>
          <p:cNvPr id="5" name="Chart 3">
            <a:extLst>
              <a:ext uri="{FF2B5EF4-FFF2-40B4-BE49-F238E27FC236}">
                <a16:creationId xmlns:a16="http://schemas.microsoft.com/office/drawing/2014/main" id="{E779B36B-5738-4989-AEF5-2D8BCFF0BBC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99604017"/>
              </p:ext>
            </p:extLst>
          </p:nvPr>
        </p:nvGraphicFramePr>
        <p:xfrm>
          <a:off x="1155700" y="1803896"/>
          <a:ext cx="8458200" cy="53295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6" name="Paveikslėlis 5">
            <a:extLst>
              <a:ext uri="{FF2B5EF4-FFF2-40B4-BE49-F238E27FC236}">
                <a16:creationId xmlns:a16="http://schemas.microsoft.com/office/drawing/2014/main" id="{B924EE5B-E349-73C4-AF34-25E0539EBCA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32900" y="199231"/>
            <a:ext cx="1261473" cy="1261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320441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a 1">
            <a:extLst>
              <a:ext uri="{FF2B5EF4-FFF2-40B4-BE49-F238E27FC236}">
                <a16:creationId xmlns:a16="http://schemas.microsoft.com/office/drawing/2014/main" id="{7027D109-56EE-E2DD-9424-EFC2094EE32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65838208"/>
              </p:ext>
            </p:extLst>
          </p:nvPr>
        </p:nvGraphicFramePr>
        <p:xfrm>
          <a:off x="1079500" y="1956296"/>
          <a:ext cx="8839200" cy="517713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C24B1EF3-5F16-38F9-C58B-796B4F8E2BBD}"/>
              </a:ext>
            </a:extLst>
          </p:cNvPr>
          <p:cNvSpPr txBox="1"/>
          <p:nvPr/>
        </p:nvSpPr>
        <p:spPr>
          <a:xfrm>
            <a:off x="1079500" y="1494631"/>
            <a:ext cx="908538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lt-LT" sz="24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YVŪNŲ GEROVĖS POREIKIS </a:t>
            </a:r>
            <a:r>
              <a:rPr lang="lt-LT" sz="24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lt-LT" sz="2400" b="1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.Smith</a:t>
            </a:r>
            <a:r>
              <a:rPr lang="lt-LT" sz="24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lt-LT" sz="2400" b="1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regon</a:t>
            </a:r>
            <a:r>
              <a:rPr lang="lt-LT" sz="24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lt-LT" sz="2400" b="1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Zoo</a:t>
            </a:r>
            <a:r>
              <a:rPr lang="lt-LT" sz="24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lt-LT" sz="2400" b="1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land</a:t>
            </a:r>
            <a:r>
              <a:rPr lang="lt-LT" sz="24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lt-LT" sz="2400" b="1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ay</a:t>
            </a:r>
            <a:r>
              <a:rPr lang="lt-LT" sz="24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2013)</a:t>
            </a:r>
            <a:endParaRPr lang="lt-LT" sz="2400" dirty="0"/>
          </a:p>
        </p:txBody>
      </p:sp>
      <p:pic>
        <p:nvPicPr>
          <p:cNvPr id="5" name="Paveikslėlis 4">
            <a:extLst>
              <a:ext uri="{FF2B5EF4-FFF2-40B4-BE49-F238E27FC236}">
                <a16:creationId xmlns:a16="http://schemas.microsoft.com/office/drawing/2014/main" id="{3D34A9BC-EBA4-C658-3EA8-1D1C0B96705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32900" y="199231"/>
            <a:ext cx="1261473" cy="1261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194662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57F65EDE-12D9-6DF3-A075-C58539DB695B}"/>
              </a:ext>
            </a:extLst>
          </p:cNvPr>
          <p:cNvSpPr txBox="1"/>
          <p:nvPr/>
        </p:nvSpPr>
        <p:spPr>
          <a:xfrm>
            <a:off x="698500" y="1342231"/>
            <a:ext cx="944880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1000"/>
              </a:spcAft>
            </a:pPr>
            <a:r>
              <a:rPr lang="lt-LT" sz="2400" i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Vidutinis kortizolio kiekis šunų seilėse tyrimo laikotarpiu (paklaidų juostos atitinka ±SD).</a:t>
            </a:r>
            <a:endParaRPr lang="lt-LT" sz="1400" i="1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4" name="Chart 15">
            <a:extLst>
              <a:ext uri="{FF2B5EF4-FFF2-40B4-BE49-F238E27FC236}">
                <a16:creationId xmlns:a16="http://schemas.microsoft.com/office/drawing/2014/main" id="{B25E60E4-80F5-4DD0-8127-582FF27FB28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5288240"/>
              </p:ext>
            </p:extLst>
          </p:nvPr>
        </p:nvGraphicFramePr>
        <p:xfrm>
          <a:off x="698500" y="2332831"/>
          <a:ext cx="8839200" cy="4800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7" name="Paveikslėlis 6">
            <a:extLst>
              <a:ext uri="{FF2B5EF4-FFF2-40B4-BE49-F238E27FC236}">
                <a16:creationId xmlns:a16="http://schemas.microsoft.com/office/drawing/2014/main" id="{00FC6C74-31C1-78E5-0FF6-DA5895899C2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32900" y="199231"/>
            <a:ext cx="1261473" cy="1261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860536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AF3883D4-9F45-BF81-FC6E-85EBCC6786D0}"/>
              </a:ext>
            </a:extLst>
          </p:cNvPr>
          <p:cNvSpPr txBox="1"/>
          <p:nvPr/>
        </p:nvSpPr>
        <p:spPr>
          <a:xfrm>
            <a:off x="774700" y="1494631"/>
            <a:ext cx="92964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lt-LT" sz="2400" dirty="0"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Žirgų akies temperatūra tyrimų laikotarpiu prieš ir po terapijos seanso</a:t>
            </a:r>
            <a:endParaRPr lang="lt-LT" dirty="0"/>
          </a:p>
        </p:txBody>
      </p:sp>
      <p:graphicFrame>
        <p:nvGraphicFramePr>
          <p:cNvPr id="4" name="Chart 5">
            <a:extLst>
              <a:ext uri="{FF2B5EF4-FFF2-40B4-BE49-F238E27FC236}">
                <a16:creationId xmlns:a16="http://schemas.microsoft.com/office/drawing/2014/main" id="{92C4E6E3-E793-4309-A092-7EC58210D4A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28950668"/>
              </p:ext>
            </p:extLst>
          </p:nvPr>
        </p:nvGraphicFramePr>
        <p:xfrm>
          <a:off x="3590925" y="1956295"/>
          <a:ext cx="7013575" cy="51009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5" name="Picture 1">
            <a:extLst>
              <a:ext uri="{FF2B5EF4-FFF2-40B4-BE49-F238E27FC236}">
                <a16:creationId xmlns:a16="http://schemas.microsoft.com/office/drawing/2014/main" id="{86435D50-EFA0-BFEF-079B-3BA77EE64E03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470"/>
          <a:stretch/>
        </p:blipFill>
        <p:spPr bwMode="auto">
          <a:xfrm>
            <a:off x="165099" y="3094831"/>
            <a:ext cx="3425825" cy="220980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6" name="Paveikslėlis 5">
            <a:extLst>
              <a:ext uri="{FF2B5EF4-FFF2-40B4-BE49-F238E27FC236}">
                <a16:creationId xmlns:a16="http://schemas.microsoft.com/office/drawing/2014/main" id="{32046C00-F462-C839-90B0-F1DD6CA18CD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32900" y="199231"/>
            <a:ext cx="1261473" cy="1261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05516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A3DB63C4-AE90-DBEE-02DE-12F2421E95DB}"/>
              </a:ext>
            </a:extLst>
          </p:cNvPr>
          <p:cNvSpPr txBox="1"/>
          <p:nvPr/>
        </p:nvSpPr>
        <p:spPr>
          <a:xfrm>
            <a:off x="844550" y="1342231"/>
            <a:ext cx="930275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Aft>
                <a:spcPts val="1000"/>
              </a:spcAft>
            </a:pPr>
            <a:r>
              <a:rPr lang="lt-LT" sz="2400" i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Skirtingų žirgų pulso ir kvėpavimo dažniai prieš bei po terapijos seansų</a:t>
            </a:r>
            <a:endParaRPr lang="lt-LT" sz="1400" i="1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4" name="Chart 11">
            <a:extLst>
              <a:ext uri="{FF2B5EF4-FFF2-40B4-BE49-F238E27FC236}">
                <a16:creationId xmlns:a16="http://schemas.microsoft.com/office/drawing/2014/main" id="{1E155956-8A19-44BC-A10D-94DE490DD48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35135436"/>
              </p:ext>
            </p:extLst>
          </p:nvPr>
        </p:nvGraphicFramePr>
        <p:xfrm>
          <a:off x="1155700" y="2104231"/>
          <a:ext cx="8382000" cy="5257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5" name="Paveikslėlis 4">
            <a:extLst>
              <a:ext uri="{FF2B5EF4-FFF2-40B4-BE49-F238E27FC236}">
                <a16:creationId xmlns:a16="http://schemas.microsoft.com/office/drawing/2014/main" id="{DEB4571B-BD39-2204-3AAF-A8595B67F48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32900" y="199231"/>
            <a:ext cx="1261473" cy="1261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278935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69DCC132-4BD9-B415-FB10-B4AE156C3731}"/>
              </a:ext>
            </a:extLst>
          </p:cNvPr>
          <p:cNvSpPr txBox="1"/>
          <p:nvPr/>
        </p:nvSpPr>
        <p:spPr>
          <a:xfrm>
            <a:off x="2417173" y="1418431"/>
            <a:ext cx="80772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lt-LT" sz="2400" i="1" dirty="0">
                <a:effectLst/>
                <a:ea typeface="Calibri" panose="020F0502020204030204" pitchFamily="34" charset="0"/>
              </a:rPr>
              <a:t>Vidutiniai žirgų elgsenos įverčiai po terapijos</a:t>
            </a:r>
            <a:endParaRPr lang="lt-LT" i="1" dirty="0"/>
          </a:p>
        </p:txBody>
      </p:sp>
      <p:graphicFrame>
        <p:nvGraphicFramePr>
          <p:cNvPr id="4" name="Chart 14">
            <a:extLst>
              <a:ext uri="{FF2B5EF4-FFF2-40B4-BE49-F238E27FC236}">
                <a16:creationId xmlns:a16="http://schemas.microsoft.com/office/drawing/2014/main" id="{1932C69C-C7D8-4A8B-87B4-01EADC4D6CE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41752159"/>
              </p:ext>
            </p:extLst>
          </p:nvPr>
        </p:nvGraphicFramePr>
        <p:xfrm>
          <a:off x="927100" y="1951831"/>
          <a:ext cx="8915400" cy="5257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5" name="Paveikslėlis 4">
            <a:extLst>
              <a:ext uri="{FF2B5EF4-FFF2-40B4-BE49-F238E27FC236}">
                <a16:creationId xmlns:a16="http://schemas.microsoft.com/office/drawing/2014/main" id="{1B1B4969-DA0F-3E05-1982-616A58081CB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32900" y="199231"/>
            <a:ext cx="1261473" cy="1261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584913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8E6A70BB-99D6-114B-0087-51D4872928B5}"/>
              </a:ext>
            </a:extLst>
          </p:cNvPr>
          <p:cNvSpPr txBox="1"/>
          <p:nvPr/>
        </p:nvSpPr>
        <p:spPr>
          <a:xfrm>
            <a:off x="1414585" y="1587502"/>
            <a:ext cx="876690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lt-LT" sz="2400" i="1" dirty="0">
                <a:effectLst/>
                <a:ea typeface="Calibri" panose="020F0502020204030204" pitchFamily="34" charset="0"/>
              </a:rPr>
              <a:t>Žirgo Nr.1 kortizolio kiekis tyrimo laikotarpiu</a:t>
            </a:r>
            <a:endParaRPr lang="lt-LT" i="1" dirty="0"/>
          </a:p>
        </p:txBody>
      </p:sp>
      <p:graphicFrame>
        <p:nvGraphicFramePr>
          <p:cNvPr id="4" name="Chart 6">
            <a:extLst>
              <a:ext uri="{FF2B5EF4-FFF2-40B4-BE49-F238E27FC236}">
                <a16:creationId xmlns:a16="http://schemas.microsoft.com/office/drawing/2014/main" id="{8C019608-D0CA-46FD-B683-B916C415F05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46454405"/>
              </p:ext>
            </p:extLst>
          </p:nvPr>
        </p:nvGraphicFramePr>
        <p:xfrm>
          <a:off x="1414585" y="2637631"/>
          <a:ext cx="8077199" cy="4267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5" name="Paveikslėlis 4">
            <a:extLst>
              <a:ext uri="{FF2B5EF4-FFF2-40B4-BE49-F238E27FC236}">
                <a16:creationId xmlns:a16="http://schemas.microsoft.com/office/drawing/2014/main" id="{5BE8F27D-D14B-4371-942E-A1BE860265A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32900" y="199231"/>
            <a:ext cx="1261473" cy="1261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542129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3641D693-9EFA-4716-19B8-69EE3EDBD54C}"/>
              </a:ext>
            </a:extLst>
          </p:cNvPr>
          <p:cNvSpPr txBox="1"/>
          <p:nvPr/>
        </p:nvSpPr>
        <p:spPr>
          <a:xfrm>
            <a:off x="1536700" y="1342231"/>
            <a:ext cx="81661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lt-LT" sz="2400" i="1" dirty="0">
                <a:effectLst/>
                <a:ea typeface="Calibri" panose="020F0502020204030204" pitchFamily="34" charset="0"/>
              </a:rPr>
              <a:t>Žirgo Nr. 2 kortizolio kiekis tyrimo laikotarpiu</a:t>
            </a:r>
            <a:endParaRPr lang="lt-LT" i="1" dirty="0"/>
          </a:p>
        </p:txBody>
      </p:sp>
      <p:graphicFrame>
        <p:nvGraphicFramePr>
          <p:cNvPr id="4" name="Chart 7">
            <a:extLst>
              <a:ext uri="{FF2B5EF4-FFF2-40B4-BE49-F238E27FC236}">
                <a16:creationId xmlns:a16="http://schemas.microsoft.com/office/drawing/2014/main" id="{99564B33-50B6-47AC-9622-6EEE670FEA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24878472"/>
              </p:ext>
            </p:extLst>
          </p:nvPr>
        </p:nvGraphicFramePr>
        <p:xfrm>
          <a:off x="1231900" y="1951831"/>
          <a:ext cx="8305800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5" name="Paveikslėlis 4">
            <a:extLst>
              <a:ext uri="{FF2B5EF4-FFF2-40B4-BE49-F238E27FC236}">
                <a16:creationId xmlns:a16="http://schemas.microsoft.com/office/drawing/2014/main" id="{244997DC-7A1A-E326-C746-DBB1EBDC219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32900" y="199231"/>
            <a:ext cx="1261473" cy="1261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422095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00838ECE-4CC7-27C2-EBC4-E1372FF9B2EA}"/>
              </a:ext>
            </a:extLst>
          </p:cNvPr>
          <p:cNvSpPr txBox="1"/>
          <p:nvPr/>
        </p:nvSpPr>
        <p:spPr>
          <a:xfrm>
            <a:off x="1689100" y="1342231"/>
            <a:ext cx="81661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lt-LT" sz="2400" i="1" dirty="0">
                <a:effectLst/>
                <a:ea typeface="Calibri" panose="020F0502020204030204" pitchFamily="34" charset="0"/>
              </a:rPr>
              <a:t>Žirgo Nr. 3 kortizolio kiekis tyrimo laikotarpiu</a:t>
            </a:r>
            <a:endParaRPr lang="lt-LT" i="1" dirty="0"/>
          </a:p>
        </p:txBody>
      </p:sp>
      <p:graphicFrame>
        <p:nvGraphicFramePr>
          <p:cNvPr id="3" name="Chart 8">
            <a:extLst>
              <a:ext uri="{FF2B5EF4-FFF2-40B4-BE49-F238E27FC236}">
                <a16:creationId xmlns:a16="http://schemas.microsoft.com/office/drawing/2014/main" id="{30517F39-C669-496B-8005-EAE738602BA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75009979"/>
              </p:ext>
            </p:extLst>
          </p:nvPr>
        </p:nvGraphicFramePr>
        <p:xfrm>
          <a:off x="1460500" y="1951831"/>
          <a:ext cx="8166100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4" name="Paveikslėlis 3">
            <a:extLst>
              <a:ext uri="{FF2B5EF4-FFF2-40B4-BE49-F238E27FC236}">
                <a16:creationId xmlns:a16="http://schemas.microsoft.com/office/drawing/2014/main" id="{CA60334D-5B4F-2F61-2674-C4507D1A06D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32900" y="199231"/>
            <a:ext cx="1261473" cy="1261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377043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0DB7C6BC-FFC2-3B2F-53C3-37B463D39F44}"/>
              </a:ext>
            </a:extLst>
          </p:cNvPr>
          <p:cNvSpPr txBox="1"/>
          <p:nvPr/>
        </p:nvSpPr>
        <p:spPr>
          <a:xfrm>
            <a:off x="546100" y="1418431"/>
            <a:ext cx="99949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lt-LT" sz="2400" i="1" dirty="0">
                <a:effectLst/>
                <a:ea typeface="Calibri" panose="020F0502020204030204" pitchFamily="34" charset="0"/>
              </a:rPr>
              <a:t>Vidutinio kortizolio kiekio žirgų seilėse prieš ir po terapijos seanso palyginimas</a:t>
            </a:r>
            <a:endParaRPr lang="lt-LT" i="1" dirty="0"/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D6C8F028-6537-4E5F-B846-64A27548365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16506340"/>
              </p:ext>
            </p:extLst>
          </p:nvPr>
        </p:nvGraphicFramePr>
        <p:xfrm>
          <a:off x="1155700" y="2180431"/>
          <a:ext cx="8153400" cy="4800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5" name="Paveikslėlis 4">
            <a:extLst>
              <a:ext uri="{FF2B5EF4-FFF2-40B4-BE49-F238E27FC236}">
                <a16:creationId xmlns:a16="http://schemas.microsoft.com/office/drawing/2014/main" id="{152F4B27-DEC3-49C8-4792-1D0AF6B5092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32900" y="199231"/>
            <a:ext cx="1261473" cy="1261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81182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698500" y="3323431"/>
            <a:ext cx="77724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lt-LT" sz="3600" b="1" dirty="0">
                <a:solidFill>
                  <a:srgbClr val="53BFE5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ČIŪ</a:t>
            </a:r>
          </a:p>
          <a:p>
            <a:r>
              <a:rPr lang="lt-LT" sz="3600" b="1" dirty="0">
                <a:solidFill>
                  <a:srgbClr val="53BFE5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UŽ DĖMESĮ</a:t>
            </a:r>
          </a:p>
        </p:txBody>
      </p:sp>
      <p:pic>
        <p:nvPicPr>
          <p:cNvPr id="4" name="Paveikslėlis 3">
            <a:extLst>
              <a:ext uri="{FF2B5EF4-FFF2-40B4-BE49-F238E27FC236}">
                <a16:creationId xmlns:a16="http://schemas.microsoft.com/office/drawing/2014/main" id="{86157870-3375-EBB8-539E-463F1780FF1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13700" y="199231"/>
            <a:ext cx="1633537" cy="1628284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5" name="Picture 8" descr="institutasmerai 009.jpg">
            <a:extLst>
              <a:ext uri="{FF2B5EF4-FFF2-40B4-BE49-F238E27FC236}">
                <a16:creationId xmlns:a16="http://schemas.microsoft.com/office/drawing/2014/main" id="{3EF3B16E-4E11-2077-117E-F84BC4065910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rcRect b="11221"/>
          <a:stretch>
            <a:fillRect/>
          </a:stretch>
        </p:blipFill>
        <p:spPr>
          <a:xfrm>
            <a:off x="3088596" y="2409031"/>
            <a:ext cx="6906304" cy="410445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  <a:softEdge rad="635000"/>
          </a:effectLst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1B0A5463-A4CF-EA45-9CA9-D672BE5FC586}"/>
              </a:ext>
            </a:extLst>
          </p:cNvPr>
          <p:cNvSpPr txBox="1"/>
          <p:nvPr/>
        </p:nvSpPr>
        <p:spPr>
          <a:xfrm>
            <a:off x="508000" y="1723231"/>
            <a:ext cx="9677400" cy="49346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457200" algn="just">
              <a:spcAft>
                <a:spcPts val="800"/>
              </a:spcAft>
            </a:pPr>
            <a:r>
              <a:rPr lang="lt-LT" sz="28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Gerą gyvūnų gerovės būklę lemiantys veiksniai:</a:t>
            </a:r>
            <a:endParaRPr lang="lt-LT" sz="2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buFont typeface="Times New Roman" panose="02020603050405020304" pitchFamily="18" charset="0"/>
              <a:buChar char="-"/>
            </a:pPr>
            <a:r>
              <a:rPr lang="lt-LT" sz="28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mityba</a:t>
            </a:r>
            <a:r>
              <a:rPr lang="lt-LT" sz="28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, tinkamas mitybinių produktų (atitinkančių gyvūno fiziologiją) naudojimas;</a:t>
            </a:r>
            <a:endParaRPr lang="lt-LT" sz="2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buFont typeface="Times New Roman" panose="02020603050405020304" pitchFamily="18" charset="0"/>
              <a:buChar char="-"/>
            </a:pPr>
            <a:r>
              <a:rPr lang="lt-LT" sz="28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aplinka</a:t>
            </a:r>
            <a:r>
              <a:rPr lang="lt-LT" sz="28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, geros laikymo sąlygos užtikrinančios nuolatinį komfortą ir saugumą;</a:t>
            </a:r>
            <a:endParaRPr lang="lt-LT" sz="2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buFont typeface="Times New Roman" panose="02020603050405020304" pitchFamily="18" charset="0"/>
              <a:buChar char="-"/>
            </a:pPr>
            <a:r>
              <a:rPr lang="lt-LT" sz="28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fizinė sveikata</a:t>
            </a:r>
            <a:r>
              <a:rPr lang="lt-LT" sz="28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, gera gyvūno fiziologinė būklė užtikrinanti tvirtumą ir gyvybingumą;</a:t>
            </a:r>
            <a:endParaRPr lang="lt-LT" sz="2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buFont typeface="Times New Roman" panose="02020603050405020304" pitchFamily="18" charset="0"/>
              <a:buChar char="-"/>
            </a:pPr>
            <a:r>
              <a:rPr lang="lt-LT" sz="28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elgesys</a:t>
            </a:r>
            <a:r>
              <a:rPr lang="lt-LT" sz="28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, gyvūno veikla apimanti įvairovę, pasirinkimą ir teigi</a:t>
            </a:r>
            <a:r>
              <a:rPr lang="en-US" sz="28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a</a:t>
            </a:r>
            <a:r>
              <a:rPr lang="lt-LT" sz="28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mas patirtis;</a:t>
            </a:r>
            <a:endParaRPr lang="lt-LT" sz="2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spcAft>
                <a:spcPts val="800"/>
              </a:spcAft>
              <a:buFont typeface="Times New Roman" panose="02020603050405020304" pitchFamily="18" charset="0"/>
              <a:buChar char="-"/>
            </a:pPr>
            <a:r>
              <a:rPr lang="lt-LT" sz="28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psichinė-emocinė būsena</a:t>
            </a:r>
            <a:r>
              <a:rPr lang="lt-LT" sz="28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, susijusi su minimaliomis neigiamomis  ir maksimaliomis teigiamomis patirtimis</a:t>
            </a:r>
            <a:r>
              <a:rPr lang="lt-LT" sz="28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lt-LT" sz="2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1" name="Paveikslėlis 10">
            <a:extLst>
              <a:ext uri="{FF2B5EF4-FFF2-40B4-BE49-F238E27FC236}">
                <a16:creationId xmlns:a16="http://schemas.microsoft.com/office/drawing/2014/main" id="{776F3CED-231D-4016-8F87-BC19797F923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32900" y="199231"/>
            <a:ext cx="1261473" cy="1261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059227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F920C50E-3814-C5C9-BB1F-3520AE3301F7}"/>
              </a:ext>
            </a:extLst>
          </p:cNvPr>
          <p:cNvSpPr txBox="1"/>
          <p:nvPr/>
        </p:nvSpPr>
        <p:spPr>
          <a:xfrm>
            <a:off x="567236" y="1723231"/>
            <a:ext cx="9296400" cy="45037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457200" algn="just">
              <a:spcAft>
                <a:spcPts val="800"/>
              </a:spcAft>
            </a:pPr>
            <a:r>
              <a:rPr lang="lt-LT" sz="28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Blogą gyvūnų gerovės būklę </a:t>
            </a:r>
            <a:r>
              <a:rPr lang="lt-LT" sz="28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lemiantys</a:t>
            </a:r>
            <a:r>
              <a:rPr lang="lt-LT" sz="28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sekantys veiksniai:</a:t>
            </a:r>
          </a:p>
          <a:p>
            <a:pPr marL="342900" lvl="0" indent="-342900" algn="just">
              <a:buFont typeface="Times New Roman" panose="02020603050405020304" pitchFamily="18" charset="0"/>
              <a:buChar char="-"/>
            </a:pPr>
            <a:r>
              <a:rPr lang="lt-LT" sz="28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mityba</a:t>
            </a:r>
            <a:r>
              <a:rPr lang="lt-LT" sz="28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, neatitinkanti gyvūno fiziologinių normų;</a:t>
            </a:r>
            <a:endParaRPr lang="lt-LT" sz="2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buFont typeface="Times New Roman" panose="02020603050405020304" pitchFamily="18" charset="0"/>
              <a:buChar char="-"/>
            </a:pPr>
            <a:r>
              <a:rPr lang="lt-LT" sz="28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aplinka</a:t>
            </a:r>
            <a:r>
              <a:rPr lang="lt-LT" sz="28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, gyvūnų laikymas blogose sąlygose, neužtikrinančiose būtinų gyvūnui  poreikių, pagal rūšį;</a:t>
            </a:r>
            <a:endParaRPr lang="lt-LT" sz="2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buFont typeface="Times New Roman" panose="02020603050405020304" pitchFamily="18" charset="0"/>
              <a:buChar char="-"/>
            </a:pPr>
            <a:r>
              <a:rPr lang="lt-LT" sz="28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fizinė sveikata</a:t>
            </a:r>
            <a:r>
              <a:rPr lang="lt-LT" sz="28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, apimanti ligas, sužeidimus ir bloga veterinarinė priežiūra;</a:t>
            </a:r>
            <a:endParaRPr lang="lt-LT" sz="2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buFont typeface="Times New Roman" panose="02020603050405020304" pitchFamily="18" charset="0"/>
              <a:buChar char="-"/>
            </a:pPr>
            <a:r>
              <a:rPr lang="lt-LT" sz="28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elgesys</a:t>
            </a:r>
            <a:r>
              <a:rPr lang="lt-LT" sz="28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, susijęs su įvairovės ir pasirinkimo nebuvimu, bei neigiamomis patirtims;</a:t>
            </a:r>
            <a:endParaRPr lang="lt-LT" sz="2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spcAft>
                <a:spcPts val="800"/>
              </a:spcAft>
              <a:buFont typeface="Times New Roman" panose="02020603050405020304" pitchFamily="18" charset="0"/>
              <a:buChar char="-"/>
            </a:pPr>
            <a:r>
              <a:rPr lang="lt-LT" sz="28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psichinė-emocinė būsena</a:t>
            </a:r>
            <a:r>
              <a:rPr lang="lt-LT" sz="28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, vyraujant neigiamoms ir minimaliai teigiamoms patirtims.</a:t>
            </a:r>
            <a:endParaRPr lang="lt-LT" sz="2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4" name="Paveikslėlis 3">
            <a:extLst>
              <a:ext uri="{FF2B5EF4-FFF2-40B4-BE49-F238E27FC236}">
                <a16:creationId xmlns:a16="http://schemas.microsoft.com/office/drawing/2014/main" id="{D528D35B-1EE9-4CDB-9B3E-D72DBB63C46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32900" y="199231"/>
            <a:ext cx="1261473" cy="1261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0907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574E084-2096-8C71-A5C5-05C8235D76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lt-LT"/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0083536F-6B9C-F2CE-EF34-12735361EBED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79442901"/>
              </p:ext>
            </p:extLst>
          </p:nvPr>
        </p:nvGraphicFramePr>
        <p:xfrm>
          <a:off x="241300" y="912020"/>
          <a:ext cx="10296525" cy="645001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4C0B59EE-1FAD-1C82-982D-211C9E50AC2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777875" y="275431"/>
            <a:ext cx="9915525" cy="7127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lt-LT" sz="24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Organizmo fiziologinis atsakas į potencialius dirgiklius ir jų pasekmės</a:t>
            </a:r>
            <a:endParaRPr lang="lt-LT" dirty="0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48BDA4E5-DD1D-B04F-10DC-AB1D0F49E9DC}"/>
              </a:ext>
            </a:extLst>
          </p:cNvPr>
          <p:cNvSpPr/>
          <p:nvPr/>
        </p:nvSpPr>
        <p:spPr>
          <a:xfrm>
            <a:off x="2984501" y="3933031"/>
            <a:ext cx="1558002" cy="1371600"/>
          </a:xfrm>
          <a:prstGeom prst="ellipse">
            <a:avLst/>
          </a:prstGeom>
          <a:solidFill>
            <a:srgbClr val="F56617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lt-LT" sz="1200" b="1" dirty="0">
                <a:solidFill>
                  <a:srgbClr val="000000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ORGANIZMAS</a:t>
            </a:r>
            <a:endParaRPr lang="lt-LT" sz="12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88445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2E53ED00-025A-CD29-1657-7861350F698C}"/>
              </a:ext>
            </a:extLst>
          </p:cNvPr>
          <p:cNvSpPr txBox="1"/>
          <p:nvPr/>
        </p:nvSpPr>
        <p:spPr>
          <a:xfrm>
            <a:off x="1003300" y="1753069"/>
            <a:ext cx="10210800" cy="20621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lt-LT" sz="3200" dirty="0"/>
              <a:t>GYVŪNŲ ELGSENOS RODIKLIŲ TYRIMŲ METODAI</a:t>
            </a:r>
          </a:p>
          <a:p>
            <a:pPr marL="457200" indent="-457200">
              <a:buFontTx/>
              <a:buChar char="-"/>
            </a:pPr>
            <a:r>
              <a:rPr lang="lt-LT" sz="3200" dirty="0"/>
              <a:t>Invaziniai;</a:t>
            </a:r>
          </a:p>
          <a:p>
            <a:pPr marL="457200" indent="-457200">
              <a:buFontTx/>
              <a:buChar char="-"/>
            </a:pPr>
            <a:r>
              <a:rPr lang="lt-LT" sz="3200" dirty="0"/>
              <a:t>Neinvaziniai.</a:t>
            </a:r>
          </a:p>
          <a:p>
            <a:pPr marL="457200" indent="-457200">
              <a:buFontTx/>
              <a:buChar char="-"/>
            </a:pPr>
            <a:endParaRPr lang="lt-LT" sz="3200" dirty="0"/>
          </a:p>
        </p:txBody>
      </p:sp>
      <p:pic>
        <p:nvPicPr>
          <p:cNvPr id="3" name="Paveikslėlis 2">
            <a:extLst>
              <a:ext uri="{FF2B5EF4-FFF2-40B4-BE49-F238E27FC236}">
                <a16:creationId xmlns:a16="http://schemas.microsoft.com/office/drawing/2014/main" id="{91BA6A89-34C0-37C6-EE70-CBB918CA021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32900" y="199231"/>
            <a:ext cx="1261473" cy="1261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217704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3B3F023C-C776-AEBC-D6B6-1A330FCC016B}"/>
              </a:ext>
            </a:extLst>
          </p:cNvPr>
          <p:cNvSpPr txBox="1"/>
          <p:nvPr/>
        </p:nvSpPr>
        <p:spPr>
          <a:xfrm>
            <a:off x="241300" y="1951831"/>
            <a:ext cx="10210800" cy="30469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lt-LT" sz="3200" dirty="0"/>
              <a:t>SKAITMENIZUOTOS SISTEMOS GYVŪNŲ ELGESIO STEBĖJIMUI</a:t>
            </a:r>
          </a:p>
          <a:p>
            <a:pPr marL="457200" indent="-457200">
              <a:buFontTx/>
              <a:buChar char="-"/>
            </a:pPr>
            <a:r>
              <a:rPr lang="lt-LT" sz="3200" dirty="0"/>
              <a:t>su išoriniais jutikliais;</a:t>
            </a:r>
          </a:p>
          <a:p>
            <a:pPr marL="457200" indent="-457200">
              <a:buFontTx/>
              <a:buChar char="-"/>
            </a:pPr>
            <a:r>
              <a:rPr lang="lt-LT" sz="3200" dirty="0"/>
              <a:t>su vidiniais jutikliais;</a:t>
            </a:r>
          </a:p>
          <a:p>
            <a:pPr marL="457200" indent="-457200">
              <a:buFontTx/>
              <a:buChar char="-"/>
            </a:pPr>
            <a:r>
              <a:rPr lang="lt-LT" sz="3200" dirty="0"/>
              <a:t>nuotolinės gyvūnų elgsenos stebėjimo sistemos.</a:t>
            </a:r>
          </a:p>
          <a:p>
            <a:pPr marL="457200" indent="-457200">
              <a:buFontTx/>
              <a:buChar char="-"/>
            </a:pPr>
            <a:endParaRPr lang="lt-LT" sz="3200" dirty="0"/>
          </a:p>
          <a:p>
            <a:pPr marL="457200" indent="-457200">
              <a:buFontTx/>
              <a:buChar char="-"/>
            </a:pPr>
            <a:endParaRPr lang="lt-LT" sz="3200" dirty="0"/>
          </a:p>
        </p:txBody>
      </p:sp>
      <p:pic>
        <p:nvPicPr>
          <p:cNvPr id="5" name="Paveikslėlis 4">
            <a:extLst>
              <a:ext uri="{FF2B5EF4-FFF2-40B4-BE49-F238E27FC236}">
                <a16:creationId xmlns:a16="http://schemas.microsoft.com/office/drawing/2014/main" id="{72A00FB6-B44A-3D01-9A9A-96DFCBCD6E9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32900" y="199231"/>
            <a:ext cx="1261473" cy="1261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93329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aveikslėlis 4">
            <a:extLst>
              <a:ext uri="{FF2B5EF4-FFF2-40B4-BE49-F238E27FC236}">
                <a16:creationId xmlns:a16="http://schemas.microsoft.com/office/drawing/2014/main" id="{CC8E7AAC-452B-56FA-2802-03183CC3DD3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9883" y="2698673"/>
            <a:ext cx="1842542" cy="3209892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2052" name="Picture 4">
            <a:extLst>
              <a:ext uri="{FF2B5EF4-FFF2-40B4-BE49-F238E27FC236}">
                <a16:creationId xmlns:a16="http://schemas.microsoft.com/office/drawing/2014/main" id="{3171B915-742F-6DD9-1724-53C4EA1424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500" y="3171031"/>
            <a:ext cx="3991141" cy="266076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>
            <a:extLst>
              <a:ext uri="{FF2B5EF4-FFF2-40B4-BE49-F238E27FC236}">
                <a16:creationId xmlns:a16="http://schemas.microsoft.com/office/drawing/2014/main" id="{FF6D4ABB-A760-ED02-FD66-5AA29AD8E8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5195" y="3188646"/>
            <a:ext cx="3500705" cy="2625529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C4FD9EC1-5892-E84A-0131-9779D4BE9D18}"/>
              </a:ext>
            </a:extLst>
          </p:cNvPr>
          <p:cNvSpPr txBox="1"/>
          <p:nvPr/>
        </p:nvSpPr>
        <p:spPr>
          <a:xfrm>
            <a:off x="372775" y="1652698"/>
            <a:ext cx="990600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lt-LT" sz="2400" dirty="0"/>
              <a:t>SKAITMENIZUOTOS SISTEMOS GALVIJŲ REPRODUKCINIO PROCESO VALDYMUI SU IŠORINIAIS JUTIKLIAIS</a:t>
            </a:r>
            <a:endParaRPr lang="en-GB" sz="2400" dirty="0"/>
          </a:p>
        </p:txBody>
      </p:sp>
      <p:pic>
        <p:nvPicPr>
          <p:cNvPr id="11" name="Paveikslėlis 10">
            <a:extLst>
              <a:ext uri="{FF2B5EF4-FFF2-40B4-BE49-F238E27FC236}">
                <a16:creationId xmlns:a16="http://schemas.microsoft.com/office/drawing/2014/main" id="{6B3CB33B-3F93-9827-5F37-390A138F2B1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32900" y="199231"/>
            <a:ext cx="1261473" cy="1261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409822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E7B16D57-B4C5-CBD1-5E06-69515167E7C1}"/>
              </a:ext>
            </a:extLst>
          </p:cNvPr>
          <p:cNvSpPr txBox="1"/>
          <p:nvPr/>
        </p:nvSpPr>
        <p:spPr>
          <a:xfrm>
            <a:off x="927100" y="1342231"/>
            <a:ext cx="906780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lt-LT" sz="2400" dirty="0"/>
              <a:t>SKAITMENIZUOTOS SISTEMOS GALVIJŲ REPRODUKCINIO PROCESO VALDYMUI SU IŠORINIAIS JUTIKLIAIS</a:t>
            </a:r>
            <a:endParaRPr lang="en-GB" sz="2400" dirty="0"/>
          </a:p>
        </p:txBody>
      </p:sp>
      <p:pic>
        <p:nvPicPr>
          <p:cNvPr id="4" name="Content Placeholder 5" descr="CowManager | Premier Select Sires">
            <a:extLst>
              <a:ext uri="{FF2B5EF4-FFF2-40B4-BE49-F238E27FC236}">
                <a16:creationId xmlns:a16="http://schemas.microsoft.com/office/drawing/2014/main" id="{F07B724C-4AC7-98E7-BF31-1487E08E1F3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49" r="11744"/>
          <a:stretch/>
        </p:blipFill>
        <p:spPr>
          <a:xfrm>
            <a:off x="7330224" y="2261921"/>
            <a:ext cx="3121876" cy="2110005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5" name="Picture 7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490C22E0-61C2-97DB-0B72-396F170134E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8900" y="2261921"/>
            <a:ext cx="3362182" cy="2069035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83676798-43A1-F6FD-2045-D649B928DACD}"/>
              </a:ext>
            </a:extLst>
          </p:cNvPr>
          <p:cNvSpPr txBox="1">
            <a:spLocks/>
          </p:cNvSpPr>
          <p:nvPr/>
        </p:nvSpPr>
        <p:spPr>
          <a:xfrm>
            <a:off x="469900" y="2289854"/>
            <a:ext cx="5407025" cy="1831863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r>
              <a:rPr lang="lt-LT" sz="1800" dirty="0">
                <a:ea typeface="Times New Roman" panose="02020603050405020304" pitchFamily="18" charset="0"/>
              </a:rPr>
              <a:t>Įvertinama:</a:t>
            </a:r>
          </a:p>
          <a:p>
            <a:pPr>
              <a:buFontTx/>
              <a:buChar char="-"/>
            </a:pPr>
            <a:r>
              <a:rPr lang="lt-LT" sz="1800" dirty="0">
                <a:ea typeface="Times New Roman" panose="02020603050405020304" pitchFamily="18" charset="0"/>
              </a:rPr>
              <a:t>gyvulio identifikacija ir lokacija;</a:t>
            </a:r>
          </a:p>
          <a:p>
            <a:pPr>
              <a:buFontTx/>
              <a:buChar char="-"/>
            </a:pPr>
            <a:r>
              <a:rPr lang="lt-LT" sz="1800" dirty="0">
                <a:ea typeface="Times New Roman" panose="02020603050405020304" pitchFamily="18" charset="0"/>
              </a:rPr>
              <a:t>sveikatingumas;</a:t>
            </a:r>
          </a:p>
          <a:p>
            <a:pPr>
              <a:buFontTx/>
              <a:buChar char="-"/>
            </a:pPr>
            <a:r>
              <a:rPr lang="lt-LT" sz="1800" dirty="0">
                <a:ea typeface="Times New Roman" panose="02020603050405020304" pitchFamily="18" charset="0"/>
              </a:rPr>
              <a:t>lytinio ciklo  fazė.</a:t>
            </a:r>
          </a:p>
          <a:p>
            <a:pPr algn="just">
              <a:buFontTx/>
              <a:buChar char="-"/>
            </a:pPr>
            <a:endParaRPr lang="lt-LT" sz="18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0" indent="0" algn="just">
              <a:buFont typeface="Arial" pitchFamily="34" charset="0"/>
              <a:buNone/>
            </a:pPr>
            <a:endParaRPr lang="lt-LT" sz="18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pic>
        <p:nvPicPr>
          <p:cNvPr id="8" name="Paveikslėlis 7">
            <a:extLst>
              <a:ext uri="{FF2B5EF4-FFF2-40B4-BE49-F238E27FC236}">
                <a16:creationId xmlns:a16="http://schemas.microsoft.com/office/drawing/2014/main" id="{790C24D6-27D2-B6EF-135B-76210B3D24B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32900" y="199231"/>
            <a:ext cx="1261473" cy="126147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5CE09475-AAC7-0BE7-CB5C-D02E8EB3823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2800" y="4618359"/>
            <a:ext cx="9067800" cy="27436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90818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aFz1dI9UqI9z.4_JXdr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aFz1dI9UqI9z.4_JXdr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aFz1dI9UqI9z.4_JXdr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aFz1dI9UqI9z.4_JXdr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aFz1dI9UqI9z.4_JXdr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aFz1dI9UqI9z.4_JXdr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494sZOFkaR.nvazT0px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doxTU3cUClJ8BnKdYU6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9rOu4Ot0iAJpHOyg439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doxTU3cUClJ8BnKdYU6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yZVEq6HREW0vBhqPXGQG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9rOu4Ot0iAJpHOyg439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doxTU3cUClJ8BnKdYU6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9rOu4Ot0iAJpHOyg439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5RnEvzH.ESbGgUnNzujr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3A2FbTMQk.JqqJbM2vTy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3A2FbTMQk.JqqJbM2vTy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3A2FbTMQk.JqqJbM2vTy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doxTU3cUClJ8BnKdYU6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9rOu4Ot0iAJpHOyg439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doxTU3cUClJ8BnKdYU6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kHfFlrn0Ch0Js0YRhh_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9rOu4Ot0iAJpHOyg439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494sZOFkaR.nvazT0px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9rOu4Ot0iAJpHOyg439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9rOu4Ot0iAJpHOyg439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9rOu4Ot0iAJpHOyg439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5RnEvzH.ESbGgUnNzujr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3A2FbTMQk.JqqJbM2vTy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3A2FbTMQk.JqqJbM2vTy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3A2FbTMQk.JqqJbM2vTy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9rOu4Ot0iAJpHOyg439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kHfFlrn0Ch0Js0YRhh_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9rOu4Ot0iAJpHOyg439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kHfFlrn0Ch0Js0YRhh_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po0HXGiE6N4KH9L3ke6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po0HXGiE6N4KH9L3ke6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aFz1dI9UqI9z.4_JXdrA"/>
</p:tagLst>
</file>

<file path=ppt/theme/theme1.xml><?xml version="1.0" encoding="utf-8"?>
<a:theme xmlns:a="http://schemas.openxmlformats.org/drawingml/2006/main" name="LSMU prezentacija">
  <a:themeElements>
    <a:clrScheme name="LSMU spalvu tema">
      <a:dk1>
        <a:srgbClr val="0070C0"/>
      </a:dk1>
      <a:lt1>
        <a:srgbClr val="FFFFFF"/>
      </a:lt1>
      <a:dk2>
        <a:srgbClr val="000000"/>
      </a:dk2>
      <a:lt2>
        <a:srgbClr val="53BFE5"/>
      </a:lt2>
      <a:accent1>
        <a:srgbClr val="40699C"/>
      </a:accent1>
      <a:accent2>
        <a:srgbClr val="4F81BD"/>
      </a:accent2>
      <a:accent3>
        <a:srgbClr val="AABAD7"/>
      </a:accent3>
      <a:accent4>
        <a:srgbClr val="40699C"/>
      </a:accent4>
      <a:accent5>
        <a:srgbClr val="4F81BD"/>
      </a:accent5>
      <a:accent6>
        <a:srgbClr val="AABAD7"/>
      </a:accent6>
      <a:hlink>
        <a:srgbClr val="40699C"/>
      </a:hlink>
      <a:folHlink>
        <a:srgbClr val="AABAD7"/>
      </a:folHlink>
    </a:clrScheme>
    <a:fontScheme name="LSMU pirma skaidre">
      <a:majorFont>
        <a:latin typeface="Open Sans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ustom Design">
  <a:themeElements>
    <a:clrScheme name="LSMU spalvu schema">
      <a:dk1>
        <a:srgbClr val="0070C0"/>
      </a:dk1>
      <a:lt1>
        <a:srgbClr val="FFFFFF"/>
      </a:lt1>
      <a:dk2>
        <a:srgbClr val="000000"/>
      </a:dk2>
      <a:lt2>
        <a:srgbClr val="53BFE5"/>
      </a:lt2>
      <a:accent1>
        <a:srgbClr val="40699C"/>
      </a:accent1>
      <a:accent2>
        <a:srgbClr val="4F81BD"/>
      </a:accent2>
      <a:accent3>
        <a:srgbClr val="AABAD7"/>
      </a:accent3>
      <a:accent4>
        <a:srgbClr val="40699C"/>
      </a:accent4>
      <a:accent5>
        <a:srgbClr val="4F81BD"/>
      </a:accent5>
      <a:accent6>
        <a:srgbClr val="AABAD7"/>
      </a:accent6>
      <a:hlink>
        <a:srgbClr val="40699C"/>
      </a:hlink>
      <a:folHlink>
        <a:srgbClr val="AABAD7"/>
      </a:folHlink>
    </a:clrScheme>
    <a:fontScheme name="LSMU pirma skaidre">
      <a:majorFont>
        <a:latin typeface="Open Sans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LSMU prezentacija 01 12</Template>
  <TotalTime>0</TotalTime>
  <Words>922</Words>
  <Application>Microsoft Office PowerPoint</Application>
  <PresentationFormat>Pasirinktinai</PresentationFormat>
  <Paragraphs>165</Paragraphs>
  <Slides>28</Slides>
  <Notes>1</Notes>
  <HiddenSlides>0</HiddenSlides>
  <MMClips>0</MMClips>
  <ScaleCrop>false</ScaleCrop>
  <HeadingPairs>
    <vt:vector size="8" baseType="variant">
      <vt:variant>
        <vt:lpstr>Naudojami šriftai</vt:lpstr>
      </vt:variant>
      <vt:variant>
        <vt:i4>5</vt:i4>
      </vt:variant>
      <vt:variant>
        <vt:lpstr>Tema</vt:lpstr>
      </vt:variant>
      <vt:variant>
        <vt:i4>3</vt:i4>
      </vt:variant>
      <vt:variant>
        <vt:lpstr>Įdėtosios OLE paslaugos</vt:lpstr>
      </vt:variant>
      <vt:variant>
        <vt:i4>1</vt:i4>
      </vt:variant>
      <vt:variant>
        <vt:lpstr>Skaidrių pavadinimai</vt:lpstr>
      </vt:variant>
      <vt:variant>
        <vt:i4>28</vt:i4>
      </vt:variant>
    </vt:vector>
  </HeadingPairs>
  <TitlesOfParts>
    <vt:vector size="37" baseType="lpstr">
      <vt:lpstr>Arial</vt:lpstr>
      <vt:lpstr>Calibri</vt:lpstr>
      <vt:lpstr>Open Sans</vt:lpstr>
      <vt:lpstr>Times New Roman</vt:lpstr>
      <vt:lpstr>Wingdings</vt:lpstr>
      <vt:lpstr>LSMU prezentacija</vt:lpstr>
      <vt:lpstr>Custom Design</vt:lpstr>
      <vt:lpstr>2_Custom Design</vt:lpstr>
      <vt:lpstr>think-cell Slide</vt:lpstr>
      <vt:lpstr>„PowerPoint“ pateiktis</vt:lpstr>
      <vt:lpstr>„PowerPoint“ pateiktis</vt:lpstr>
      <vt:lpstr>„PowerPoint“ pateiktis</vt:lpstr>
      <vt:lpstr>„PowerPoint“ pateiktis</vt:lpstr>
      <vt:lpstr>Organizmo fiziologinis atsakas į potencialius dirgiklius ir jų pasekmės</vt:lpstr>
      <vt:lpstr>„PowerPoint“ pateiktis</vt:lpstr>
      <vt:lpstr>„PowerPoint“ pateiktis</vt:lpstr>
      <vt:lpstr>„PowerPoint“ pateiktis</vt:lpstr>
      <vt:lpstr>„PowerPoint“ pateiktis</vt:lpstr>
      <vt:lpstr>„PowerPoint“ pateiktis</vt:lpstr>
      <vt:lpstr>„PowerPoint“ pateiktis</vt:lpstr>
      <vt:lpstr>Sistema, kuri pateikia temperatūros kitimus, prieskrandžio  pH karvės viduje bei  aplinkos klimato sąlygas</vt:lpstr>
      <vt:lpstr>„PowerPoint“ pateiktis</vt:lpstr>
      <vt:lpstr>„PowerPoint“ pateiktis</vt:lpstr>
      <vt:lpstr>„PowerPoint“ pateiktis</vt:lpstr>
      <vt:lpstr>„PowerPoint“ pateiktis</vt:lpstr>
      <vt:lpstr>„PowerPoint“ pateiktis</vt:lpstr>
      <vt:lpstr>„PowerPoint“ pateiktis</vt:lpstr>
      <vt:lpstr>„PowerPoint“ pateiktis</vt:lpstr>
      <vt:lpstr>„PowerPoint“ pateiktis</vt:lpstr>
      <vt:lpstr>„PowerPoint“ pateiktis</vt:lpstr>
      <vt:lpstr>„PowerPoint“ pateiktis</vt:lpstr>
      <vt:lpstr>„PowerPoint“ pateiktis</vt:lpstr>
      <vt:lpstr>„PowerPoint“ pateiktis</vt:lpstr>
      <vt:lpstr>„PowerPoint“ pateiktis</vt:lpstr>
      <vt:lpstr>„PowerPoint“ pateiktis</vt:lpstr>
      <vt:lpstr>„PowerPoint“ pateiktis</vt:lpstr>
      <vt:lpstr>„PowerPoint“ pateikti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Windows User</dc:creator>
  <cp:lastModifiedBy>Artūras Šiukščius</cp:lastModifiedBy>
  <cp:revision>145</cp:revision>
  <cp:lastPrinted>2022-02-17T14:45:24Z</cp:lastPrinted>
  <dcterms:created xsi:type="dcterms:W3CDTF">2017-12-05T06:31:23Z</dcterms:created>
  <dcterms:modified xsi:type="dcterms:W3CDTF">2022-10-13T05:26:06Z</dcterms:modified>
</cp:coreProperties>
</file>